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56" r:id="rId2"/>
    <p:sldId id="1665" r:id="rId3"/>
    <p:sldId id="1633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DBD95"/>
    <a:srgbClr val="DFC597"/>
    <a:srgbClr val="CDCB99"/>
    <a:srgbClr val="A1A1A1"/>
    <a:srgbClr val="595959"/>
    <a:srgbClr val="C33246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FF6819-2FD7-4988-8BD3-607E65FDA160}" v="497" dt="2022-07-05T15:29:10.887"/>
    <p1510:client id="{F6068626-2481-4B8E-8354-DA5BC2BE262F}" v="1229" dt="2022-07-05T10:41:23.9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2371" autoAdjust="0"/>
  </p:normalViewPr>
  <p:slideViewPr>
    <p:cSldViewPr snapToGrid="0">
      <p:cViewPr varScale="1">
        <p:scale>
          <a:sx n="67" d="100"/>
          <a:sy n="67" d="100"/>
        </p:scale>
        <p:origin x="644" y="40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5" Type="http://schemas.microsoft.com/office/2018/10/relationships/authors" Target="authors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etana Hegde [UNext]" userId="3c77f34b-0b38-4dfb-b7be-bfc0a69657c2" providerId="ADAL" clId="{1DFF6819-2FD7-4988-8BD3-607E65FDA160}"/>
    <pc:docChg chg="modSld">
      <pc:chgData name="Chetana Hegde [UNext]" userId="3c77f34b-0b38-4dfb-b7be-bfc0a69657c2" providerId="ADAL" clId="{1DFF6819-2FD7-4988-8BD3-607E65FDA160}" dt="2022-07-05T15:29:10.887" v="494" actId="20577"/>
      <pc:docMkLst>
        <pc:docMk/>
      </pc:docMkLst>
      <pc:sldChg chg="modSp">
        <pc:chgData name="Chetana Hegde [UNext]" userId="3c77f34b-0b38-4dfb-b7be-bfc0a69657c2" providerId="ADAL" clId="{1DFF6819-2FD7-4988-8BD3-607E65FDA160}" dt="2022-07-05T15:29:10.887" v="494" actId="20577"/>
        <pc:sldMkLst>
          <pc:docMk/>
          <pc:sldMk cId="553869029" sldId="1664"/>
        </pc:sldMkLst>
        <pc:graphicFrameChg chg="mod">
          <ac:chgData name="Chetana Hegde [UNext]" userId="3c77f34b-0b38-4dfb-b7be-bfc0a69657c2" providerId="ADAL" clId="{1DFF6819-2FD7-4988-8BD3-607E65FDA160}" dt="2022-07-05T15:29:10.887" v="494" actId="20577"/>
          <ac:graphicFrameMkLst>
            <pc:docMk/>
            <pc:sldMk cId="553869029" sldId="1664"/>
            <ac:graphicFrameMk id="8" creationId="{51CE3FB6-D320-AFEE-E94B-B969B3366EAB}"/>
          </ac:graphicFrameMkLst>
        </pc:graphicFrameChg>
      </pc:sldChg>
    </pc:docChg>
  </pc:docChgLst>
  <pc:docChgLst>
    <pc:chgData name="Saravana Velayudham [UNext]" userId="b15594d8-fdfb-43a5-8769-664fba2e8cee" providerId="ADAL" clId="{F6068626-2481-4B8E-8354-DA5BC2BE262F}"/>
    <pc:docChg chg="custSel delSld modSld">
      <pc:chgData name="Saravana Velayudham [UNext]" userId="b15594d8-fdfb-43a5-8769-664fba2e8cee" providerId="ADAL" clId="{F6068626-2481-4B8E-8354-DA5BC2BE262F}" dt="2022-07-05T10:41:54.653" v="1383" actId="20577"/>
      <pc:docMkLst>
        <pc:docMk/>
      </pc:docMkLst>
      <pc:sldChg chg="modSp mod">
        <pc:chgData name="Saravana Velayudham [UNext]" userId="b15594d8-fdfb-43a5-8769-664fba2e8cee" providerId="ADAL" clId="{F6068626-2481-4B8E-8354-DA5BC2BE262F}" dt="2022-07-05T10:33:11.364" v="137" actId="20577"/>
        <pc:sldMkLst>
          <pc:docMk/>
          <pc:sldMk cId="3267775274" sldId="256"/>
        </pc:sldMkLst>
        <pc:spChg chg="mod">
          <ac:chgData name="Saravana Velayudham [UNext]" userId="b15594d8-fdfb-43a5-8769-664fba2e8cee" providerId="ADAL" clId="{F6068626-2481-4B8E-8354-DA5BC2BE262F}" dt="2022-07-05T10:32:59.381" v="128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Saravana Velayudham [UNext]" userId="b15594d8-fdfb-43a5-8769-664fba2e8cee" providerId="ADAL" clId="{F6068626-2481-4B8E-8354-DA5BC2BE262F}" dt="2022-07-05T10:33:11.364" v="137" actId="20577"/>
          <ac:spMkLst>
            <pc:docMk/>
            <pc:sldMk cId="3267775274" sldId="256"/>
            <ac:spMk id="7" creationId="{0660D5D6-4416-357A-1D33-1A4A81275530}"/>
          </ac:spMkLst>
        </pc:spChg>
      </pc:sldChg>
      <pc:sldChg chg="del">
        <pc:chgData name="Saravana Velayudham [UNext]" userId="b15594d8-fdfb-43a5-8769-664fba2e8cee" providerId="ADAL" clId="{F6068626-2481-4B8E-8354-DA5BC2BE262F}" dt="2022-07-05T10:29:56.972" v="2" actId="47"/>
        <pc:sldMkLst>
          <pc:docMk/>
          <pc:sldMk cId="3713494833" sldId="1333"/>
        </pc:sldMkLst>
      </pc:sldChg>
      <pc:sldChg chg="del">
        <pc:chgData name="Saravana Velayudham [UNext]" userId="b15594d8-fdfb-43a5-8769-664fba2e8cee" providerId="ADAL" clId="{F6068626-2481-4B8E-8354-DA5BC2BE262F}" dt="2022-07-05T10:29:56.028" v="0" actId="47"/>
        <pc:sldMkLst>
          <pc:docMk/>
          <pc:sldMk cId="2279873341" sldId="1634"/>
        </pc:sldMkLst>
      </pc:sldChg>
      <pc:sldChg chg="del">
        <pc:chgData name="Saravana Velayudham [UNext]" userId="b15594d8-fdfb-43a5-8769-664fba2e8cee" providerId="ADAL" clId="{F6068626-2481-4B8E-8354-DA5BC2BE262F}" dt="2022-07-05T10:29:56.536" v="1" actId="47"/>
        <pc:sldMkLst>
          <pc:docMk/>
          <pc:sldMk cId="2043915279" sldId="1635"/>
        </pc:sldMkLst>
      </pc:sldChg>
      <pc:sldChg chg="del">
        <pc:chgData name="Saravana Velayudham [UNext]" userId="b15594d8-fdfb-43a5-8769-664fba2e8cee" providerId="ADAL" clId="{F6068626-2481-4B8E-8354-DA5BC2BE262F}" dt="2022-07-05T10:29:57.654" v="3" actId="47"/>
        <pc:sldMkLst>
          <pc:docMk/>
          <pc:sldMk cId="2911699869" sldId="1636"/>
        </pc:sldMkLst>
      </pc:sldChg>
      <pc:sldChg chg="modSp del mod">
        <pc:chgData name="Saravana Velayudham [UNext]" userId="b15594d8-fdfb-43a5-8769-664fba2e8cee" providerId="ADAL" clId="{F6068626-2481-4B8E-8354-DA5BC2BE262F}" dt="2022-07-05T10:32:44.823" v="101" actId="47"/>
        <pc:sldMkLst>
          <pc:docMk/>
          <pc:sldMk cId="75815658" sldId="1638"/>
        </pc:sldMkLst>
        <pc:spChg chg="mod">
          <ac:chgData name="Saravana Velayudham [UNext]" userId="b15594d8-fdfb-43a5-8769-664fba2e8cee" providerId="ADAL" clId="{F6068626-2481-4B8E-8354-DA5BC2BE262F}" dt="2022-07-05T10:30:37.220" v="29" actId="255"/>
          <ac:spMkLst>
            <pc:docMk/>
            <pc:sldMk cId="75815658" sldId="1638"/>
            <ac:spMk id="9" creationId="{D012F8D7-A7DB-47A4-840C-67C393C50A2D}"/>
          </ac:spMkLst>
        </pc:spChg>
      </pc:sldChg>
      <pc:sldChg chg="del">
        <pc:chgData name="Saravana Velayudham [UNext]" userId="b15594d8-fdfb-43a5-8769-664fba2e8cee" providerId="ADAL" clId="{F6068626-2481-4B8E-8354-DA5BC2BE262F}" dt="2022-07-05T10:30:09.880" v="21" actId="47"/>
        <pc:sldMkLst>
          <pc:docMk/>
          <pc:sldMk cId="3867653954" sldId="1639"/>
        </pc:sldMkLst>
      </pc:sldChg>
      <pc:sldChg chg="del">
        <pc:chgData name="Saravana Velayudham [UNext]" userId="b15594d8-fdfb-43a5-8769-664fba2e8cee" providerId="ADAL" clId="{F6068626-2481-4B8E-8354-DA5BC2BE262F}" dt="2022-07-05T10:30:11.135" v="23" actId="47"/>
        <pc:sldMkLst>
          <pc:docMk/>
          <pc:sldMk cId="1459353828" sldId="1640"/>
        </pc:sldMkLst>
      </pc:sldChg>
      <pc:sldChg chg="del">
        <pc:chgData name="Saravana Velayudham [UNext]" userId="b15594d8-fdfb-43a5-8769-664fba2e8cee" providerId="ADAL" clId="{F6068626-2481-4B8E-8354-DA5BC2BE262F}" dt="2022-07-05T10:30:12.334" v="26" actId="47"/>
        <pc:sldMkLst>
          <pc:docMk/>
          <pc:sldMk cId="617324166" sldId="1642"/>
        </pc:sldMkLst>
      </pc:sldChg>
      <pc:sldChg chg="del">
        <pc:chgData name="Saravana Velayudham [UNext]" userId="b15594d8-fdfb-43a5-8769-664fba2e8cee" providerId="ADAL" clId="{F6068626-2481-4B8E-8354-DA5BC2BE262F}" dt="2022-07-05T10:30:10.541" v="22" actId="47"/>
        <pc:sldMkLst>
          <pc:docMk/>
          <pc:sldMk cId="1372603179" sldId="1643"/>
        </pc:sldMkLst>
      </pc:sldChg>
      <pc:sldChg chg="del">
        <pc:chgData name="Saravana Velayudham [UNext]" userId="b15594d8-fdfb-43a5-8769-664fba2e8cee" providerId="ADAL" clId="{F6068626-2481-4B8E-8354-DA5BC2BE262F}" dt="2022-07-05T10:30:01.252" v="4" actId="47"/>
        <pc:sldMkLst>
          <pc:docMk/>
          <pc:sldMk cId="100355084" sldId="1644"/>
        </pc:sldMkLst>
      </pc:sldChg>
      <pc:sldChg chg="del">
        <pc:chgData name="Saravana Velayudham [UNext]" userId="b15594d8-fdfb-43a5-8769-664fba2e8cee" providerId="ADAL" clId="{F6068626-2481-4B8E-8354-DA5BC2BE262F}" dt="2022-07-05T10:30:02.489" v="11" actId="47"/>
        <pc:sldMkLst>
          <pc:docMk/>
          <pc:sldMk cId="2440849338" sldId="1645"/>
        </pc:sldMkLst>
      </pc:sldChg>
      <pc:sldChg chg="del">
        <pc:chgData name="Saravana Velayudham [UNext]" userId="b15594d8-fdfb-43a5-8769-664fba2e8cee" providerId="ADAL" clId="{F6068626-2481-4B8E-8354-DA5BC2BE262F}" dt="2022-07-05T10:30:02.631" v="12" actId="47"/>
        <pc:sldMkLst>
          <pc:docMk/>
          <pc:sldMk cId="543158104" sldId="1646"/>
        </pc:sldMkLst>
      </pc:sldChg>
      <pc:sldChg chg="del">
        <pc:chgData name="Saravana Velayudham [UNext]" userId="b15594d8-fdfb-43a5-8769-664fba2e8cee" providerId="ADAL" clId="{F6068626-2481-4B8E-8354-DA5BC2BE262F}" dt="2022-07-05T10:30:02.768" v="13" actId="47"/>
        <pc:sldMkLst>
          <pc:docMk/>
          <pc:sldMk cId="2273356253" sldId="1647"/>
        </pc:sldMkLst>
      </pc:sldChg>
      <pc:sldChg chg="del">
        <pc:chgData name="Saravana Velayudham [UNext]" userId="b15594d8-fdfb-43a5-8769-664fba2e8cee" providerId="ADAL" clId="{F6068626-2481-4B8E-8354-DA5BC2BE262F}" dt="2022-07-05T10:30:05.309" v="18" actId="47"/>
        <pc:sldMkLst>
          <pc:docMk/>
          <pc:sldMk cId="3733003278" sldId="1648"/>
        </pc:sldMkLst>
      </pc:sldChg>
      <pc:sldChg chg="del">
        <pc:chgData name="Saravana Velayudham [UNext]" userId="b15594d8-fdfb-43a5-8769-664fba2e8cee" providerId="ADAL" clId="{F6068626-2481-4B8E-8354-DA5BC2BE262F}" dt="2022-07-05T10:30:03.901" v="16" actId="47"/>
        <pc:sldMkLst>
          <pc:docMk/>
          <pc:sldMk cId="3367922175" sldId="1649"/>
        </pc:sldMkLst>
      </pc:sldChg>
      <pc:sldChg chg="del">
        <pc:chgData name="Saravana Velayudham [UNext]" userId="b15594d8-fdfb-43a5-8769-664fba2e8cee" providerId="ADAL" clId="{F6068626-2481-4B8E-8354-DA5BC2BE262F}" dt="2022-07-05T10:30:02.085" v="8" actId="47"/>
        <pc:sldMkLst>
          <pc:docMk/>
          <pc:sldMk cId="3244350838" sldId="1651"/>
        </pc:sldMkLst>
      </pc:sldChg>
      <pc:sldChg chg="del">
        <pc:chgData name="Saravana Velayudham [UNext]" userId="b15594d8-fdfb-43a5-8769-664fba2e8cee" providerId="ADAL" clId="{F6068626-2481-4B8E-8354-DA5BC2BE262F}" dt="2022-07-05T10:30:01.435" v="5" actId="47"/>
        <pc:sldMkLst>
          <pc:docMk/>
          <pc:sldMk cId="2299738505" sldId="1653"/>
        </pc:sldMkLst>
      </pc:sldChg>
      <pc:sldChg chg="del">
        <pc:chgData name="Saravana Velayudham [UNext]" userId="b15594d8-fdfb-43a5-8769-664fba2e8cee" providerId="ADAL" clId="{F6068626-2481-4B8E-8354-DA5BC2BE262F}" dt="2022-07-05T10:30:01.819" v="6" actId="47"/>
        <pc:sldMkLst>
          <pc:docMk/>
          <pc:sldMk cId="2003872831" sldId="1654"/>
        </pc:sldMkLst>
      </pc:sldChg>
      <pc:sldChg chg="del">
        <pc:chgData name="Saravana Velayudham [UNext]" userId="b15594d8-fdfb-43a5-8769-664fba2e8cee" providerId="ADAL" clId="{F6068626-2481-4B8E-8354-DA5BC2BE262F}" dt="2022-07-05T10:30:01.952" v="7" actId="47"/>
        <pc:sldMkLst>
          <pc:docMk/>
          <pc:sldMk cId="424191823" sldId="1656"/>
        </pc:sldMkLst>
      </pc:sldChg>
      <pc:sldChg chg="del">
        <pc:chgData name="Saravana Velayudham [UNext]" userId="b15594d8-fdfb-43a5-8769-664fba2e8cee" providerId="ADAL" clId="{F6068626-2481-4B8E-8354-DA5BC2BE262F}" dt="2022-07-05T10:30:02.222" v="9" actId="47"/>
        <pc:sldMkLst>
          <pc:docMk/>
          <pc:sldMk cId="160191192" sldId="1657"/>
        </pc:sldMkLst>
      </pc:sldChg>
      <pc:sldChg chg="del">
        <pc:chgData name="Saravana Velayudham [UNext]" userId="b15594d8-fdfb-43a5-8769-664fba2e8cee" providerId="ADAL" clId="{F6068626-2481-4B8E-8354-DA5BC2BE262F}" dt="2022-07-05T10:30:02.346" v="10" actId="47"/>
        <pc:sldMkLst>
          <pc:docMk/>
          <pc:sldMk cId="3492660328" sldId="1658"/>
        </pc:sldMkLst>
      </pc:sldChg>
      <pc:sldChg chg="del">
        <pc:chgData name="Saravana Velayudham [UNext]" userId="b15594d8-fdfb-43a5-8769-664fba2e8cee" providerId="ADAL" clId="{F6068626-2481-4B8E-8354-DA5BC2BE262F}" dt="2022-07-05T10:30:02.911" v="14" actId="47"/>
        <pc:sldMkLst>
          <pc:docMk/>
          <pc:sldMk cId="1936776310" sldId="1659"/>
        </pc:sldMkLst>
      </pc:sldChg>
      <pc:sldChg chg="del">
        <pc:chgData name="Saravana Velayudham [UNext]" userId="b15594d8-fdfb-43a5-8769-664fba2e8cee" providerId="ADAL" clId="{F6068626-2481-4B8E-8354-DA5BC2BE262F}" dt="2022-07-05T10:30:03.585" v="15" actId="47"/>
        <pc:sldMkLst>
          <pc:docMk/>
          <pc:sldMk cId="1670316509" sldId="1660"/>
        </pc:sldMkLst>
      </pc:sldChg>
      <pc:sldChg chg="del">
        <pc:chgData name="Saravana Velayudham [UNext]" userId="b15594d8-fdfb-43a5-8769-664fba2e8cee" providerId="ADAL" clId="{F6068626-2481-4B8E-8354-DA5BC2BE262F}" dt="2022-07-05T10:30:04.569" v="17" actId="47"/>
        <pc:sldMkLst>
          <pc:docMk/>
          <pc:sldMk cId="572825325" sldId="1661"/>
        </pc:sldMkLst>
      </pc:sldChg>
      <pc:sldChg chg="del">
        <pc:chgData name="Saravana Velayudham [UNext]" userId="b15594d8-fdfb-43a5-8769-664fba2e8cee" providerId="ADAL" clId="{F6068626-2481-4B8E-8354-DA5BC2BE262F}" dt="2022-07-05T10:30:06.297" v="19" actId="47"/>
        <pc:sldMkLst>
          <pc:docMk/>
          <pc:sldMk cId="2502370851" sldId="1662"/>
        </pc:sldMkLst>
      </pc:sldChg>
      <pc:sldChg chg="del">
        <pc:chgData name="Saravana Velayudham [UNext]" userId="b15594d8-fdfb-43a5-8769-664fba2e8cee" providerId="ADAL" clId="{F6068626-2481-4B8E-8354-DA5BC2BE262F}" dt="2022-07-05T10:30:07.060" v="20" actId="47"/>
        <pc:sldMkLst>
          <pc:docMk/>
          <pc:sldMk cId="1094932102" sldId="1663"/>
        </pc:sldMkLst>
      </pc:sldChg>
      <pc:sldChg chg="addSp delSp modSp mod">
        <pc:chgData name="Saravana Velayudham [UNext]" userId="b15594d8-fdfb-43a5-8769-664fba2e8cee" providerId="ADAL" clId="{F6068626-2481-4B8E-8354-DA5BC2BE262F}" dt="2022-07-05T10:41:54.653" v="1383" actId="20577"/>
        <pc:sldMkLst>
          <pc:docMk/>
          <pc:sldMk cId="553869029" sldId="1664"/>
        </pc:sldMkLst>
        <pc:spChg chg="del mod">
          <ac:chgData name="Saravana Velayudham [UNext]" userId="b15594d8-fdfb-43a5-8769-664fba2e8cee" providerId="ADAL" clId="{F6068626-2481-4B8E-8354-DA5BC2BE262F}" dt="2022-07-05T10:31:01.777" v="32" actId="478"/>
          <ac:spMkLst>
            <pc:docMk/>
            <pc:sldMk cId="553869029" sldId="1664"/>
            <ac:spMk id="3" creationId="{B51C3521-CE88-19FA-154F-D0B09E7F9464}"/>
          </ac:spMkLst>
        </pc:spChg>
        <pc:spChg chg="add del mod">
          <ac:chgData name="Saravana Velayudham [UNext]" userId="b15594d8-fdfb-43a5-8769-664fba2e8cee" providerId="ADAL" clId="{F6068626-2481-4B8E-8354-DA5BC2BE262F}" dt="2022-07-05T10:31:06.453" v="33" actId="478"/>
          <ac:spMkLst>
            <pc:docMk/>
            <pc:sldMk cId="553869029" sldId="1664"/>
            <ac:spMk id="5" creationId="{95C3A717-CACF-C1FD-6E57-180A25C2935E}"/>
          </ac:spMkLst>
        </pc:spChg>
        <pc:spChg chg="add mod">
          <ac:chgData name="Saravana Velayudham [UNext]" userId="b15594d8-fdfb-43a5-8769-664fba2e8cee" providerId="ADAL" clId="{F6068626-2481-4B8E-8354-DA5BC2BE262F}" dt="2022-07-05T10:41:54.653" v="1383" actId="20577"/>
          <ac:spMkLst>
            <pc:docMk/>
            <pc:sldMk cId="553869029" sldId="1664"/>
            <ac:spMk id="7" creationId="{DB093572-F617-EE4B-ED3B-52849A0BD519}"/>
          </ac:spMkLst>
        </pc:spChg>
        <pc:graphicFrameChg chg="add mod modGraphic">
          <ac:chgData name="Saravana Velayudham [UNext]" userId="b15594d8-fdfb-43a5-8769-664fba2e8cee" providerId="ADAL" clId="{F6068626-2481-4B8E-8354-DA5BC2BE262F}" dt="2022-07-05T10:41:23.923" v="1363" actId="20577"/>
          <ac:graphicFrameMkLst>
            <pc:docMk/>
            <pc:sldMk cId="553869029" sldId="1664"/>
            <ac:graphicFrameMk id="8" creationId="{51CE3FB6-D320-AFEE-E94B-B969B3366EAB}"/>
          </ac:graphicFrameMkLst>
        </pc:graphicFrameChg>
        <pc:picChg chg="del">
          <ac:chgData name="Saravana Velayudham [UNext]" userId="b15594d8-fdfb-43a5-8769-664fba2e8cee" providerId="ADAL" clId="{F6068626-2481-4B8E-8354-DA5BC2BE262F}" dt="2022-07-05T10:30:17.724" v="27" actId="478"/>
          <ac:picMkLst>
            <pc:docMk/>
            <pc:sldMk cId="553869029" sldId="1664"/>
            <ac:picMk id="6" creationId="{912AF9D3-8F97-D077-00CB-FBB3265C55E2}"/>
          </ac:picMkLst>
        </pc:picChg>
      </pc:sldChg>
      <pc:sldChg chg="modSp del mod">
        <pc:chgData name="Saravana Velayudham [UNext]" userId="b15594d8-fdfb-43a5-8769-664fba2e8cee" providerId="ADAL" clId="{F6068626-2481-4B8E-8354-DA5BC2BE262F}" dt="2022-07-05T10:32:44.214" v="100" actId="47"/>
        <pc:sldMkLst>
          <pc:docMk/>
          <pc:sldMk cId="394075919" sldId="1667"/>
        </pc:sldMkLst>
        <pc:spChg chg="mod">
          <ac:chgData name="Saravana Velayudham [UNext]" userId="b15594d8-fdfb-43a5-8769-664fba2e8cee" providerId="ADAL" clId="{F6068626-2481-4B8E-8354-DA5BC2BE262F}" dt="2022-07-05T10:30:30.668" v="28" actId="255"/>
          <ac:spMkLst>
            <pc:docMk/>
            <pc:sldMk cId="394075919" sldId="1667"/>
            <ac:spMk id="9" creationId="{D012F8D7-A7DB-47A4-840C-67C393C50A2D}"/>
          </ac:spMkLst>
        </pc:spChg>
      </pc:sldChg>
      <pc:sldChg chg="del">
        <pc:chgData name="Saravana Velayudham [UNext]" userId="b15594d8-fdfb-43a5-8769-664fba2e8cee" providerId="ADAL" clId="{F6068626-2481-4B8E-8354-DA5BC2BE262F}" dt="2022-07-05T10:30:11.542" v="24" actId="47"/>
        <pc:sldMkLst>
          <pc:docMk/>
          <pc:sldMk cId="1406277943" sldId="1668"/>
        </pc:sldMkLst>
      </pc:sldChg>
      <pc:sldChg chg="del">
        <pc:chgData name="Saravana Velayudham [UNext]" userId="b15594d8-fdfb-43a5-8769-664fba2e8cee" providerId="ADAL" clId="{F6068626-2481-4B8E-8354-DA5BC2BE262F}" dt="2022-07-05T10:30:11.917" v="25" actId="47"/>
        <pc:sldMkLst>
          <pc:docMk/>
          <pc:sldMk cId="2941696819" sldId="1669"/>
        </pc:sldMkLst>
      </pc:sldChg>
    </pc:docChg>
  </pc:docChgLst>
  <pc:docChgLst>
    <pc:chgData name="Naga Brahmam Y [UNext]" userId="fd7a6af7-2adb-4097-a756-0d412d66c248" providerId="ADAL" clId="{B2A4FB9D-B5E5-4B94-91E6-C867FAD0F509}"/>
    <pc:docChg chg="addSld modSld">
      <pc:chgData name="Naga Brahmam Y [UNext]" userId="fd7a6af7-2adb-4097-a756-0d412d66c248" providerId="ADAL" clId="{B2A4FB9D-B5E5-4B94-91E6-C867FAD0F509}" dt="2022-07-05T16:58:52.509" v="212"/>
      <pc:docMkLst>
        <pc:docMk/>
      </pc:docMkLst>
      <pc:sldChg chg="modSp add">
        <pc:chgData name="Naga Brahmam Y [UNext]" userId="fd7a6af7-2adb-4097-a756-0d412d66c248" providerId="ADAL" clId="{B2A4FB9D-B5E5-4B94-91E6-C867FAD0F509}" dt="2022-07-05T16:58:52.509" v="212"/>
        <pc:sldMkLst>
          <pc:docMk/>
          <pc:sldMk cId="1526251158" sldId="1665"/>
        </pc:sldMkLst>
        <pc:graphicFrameChg chg="mod">
          <ac:chgData name="Naga Brahmam Y [UNext]" userId="fd7a6af7-2adb-4097-a756-0d412d66c248" providerId="ADAL" clId="{B2A4FB9D-B5E5-4B94-91E6-C867FAD0F509}" dt="2022-07-05T16:58:52.509" v="212"/>
          <ac:graphicFrameMkLst>
            <pc:docMk/>
            <pc:sldMk cId="1526251158" sldId="1665"/>
            <ac:graphicFrameMk id="8" creationId="{51CE3FB6-D320-AFEE-E94B-B969B3366EAB}"/>
          </ac:graphicFrameMkLst>
        </pc:graphicFrameChg>
      </pc:sldChg>
    </pc:docChg>
  </pc:docChgLst>
  <pc:docChgLst>
    <pc:chgData name="Naga Brahmam Y [UNext]" userId="fd7a6af7-2adb-4097-a756-0d412d66c248" providerId="ADAL" clId="{1EE5F7A4-A9A8-419C-B811-65212710E2C1}"/>
    <pc:docChg chg="delSld">
      <pc:chgData name="Naga Brahmam Y [UNext]" userId="fd7a6af7-2adb-4097-a756-0d412d66c248" providerId="ADAL" clId="{1EE5F7A4-A9A8-419C-B811-65212710E2C1}" dt="2022-07-05T17:01:30.666" v="0" actId="2696"/>
      <pc:docMkLst>
        <pc:docMk/>
      </pc:docMkLst>
      <pc:sldChg chg="del">
        <pc:chgData name="Naga Brahmam Y [UNext]" userId="fd7a6af7-2adb-4097-a756-0d412d66c248" providerId="ADAL" clId="{1EE5F7A4-A9A8-419C-B811-65212710E2C1}" dt="2022-07-05T17:01:30.666" v="0" actId="2696"/>
        <pc:sldMkLst>
          <pc:docMk/>
          <pc:sldMk cId="553869029" sldId="1664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77DB5A-1EC4-4CFF-AB85-3B558D93224F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A4AAA935-27A4-49EC-9D4D-916D77A98079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IN" sz="1200" dirty="0"/>
            <a:t>Problem Statement</a:t>
          </a:r>
        </a:p>
      </dgm:t>
    </dgm:pt>
    <dgm:pt modelId="{714BC884-D31B-4CFB-9A0D-6194A89C0AA0}" type="parTrans" cxnId="{EC92306A-3DEF-45E0-B4AE-3A77C2B4FAD0}">
      <dgm:prSet/>
      <dgm:spPr/>
      <dgm:t>
        <a:bodyPr/>
        <a:lstStyle/>
        <a:p>
          <a:endParaRPr lang="en-IN"/>
        </a:p>
      </dgm:t>
    </dgm:pt>
    <dgm:pt modelId="{D1988C18-494A-4F3A-ACDE-46B925B58774}" type="sibTrans" cxnId="{EC92306A-3DEF-45E0-B4AE-3A77C2B4FAD0}">
      <dgm:prSet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/>
        </a:p>
      </dgm:t>
    </dgm:pt>
    <dgm:pt modelId="{3B73F755-B2C1-4E3D-A80F-9F7E009A35A4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IN" sz="1200" dirty="0"/>
            <a:t>Challenges involved</a:t>
          </a:r>
        </a:p>
      </dgm:t>
    </dgm:pt>
    <dgm:pt modelId="{AC5E75FC-525C-485B-A1F1-5A43E3354344}" type="parTrans" cxnId="{7BC7E476-8887-4B1D-BE11-B1D6B9194B28}">
      <dgm:prSet/>
      <dgm:spPr/>
      <dgm:t>
        <a:bodyPr/>
        <a:lstStyle/>
        <a:p>
          <a:endParaRPr lang="en-IN"/>
        </a:p>
      </dgm:t>
    </dgm:pt>
    <dgm:pt modelId="{4F9A4A42-F68F-463D-8EB2-B40C4837B264}" type="sibTrans" cxnId="{7BC7E476-8887-4B1D-BE11-B1D6B9194B28}">
      <dgm:prSet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/>
        </a:p>
      </dgm:t>
    </dgm:pt>
    <dgm:pt modelId="{F6070C88-4A83-4ADD-8BAB-09F5B4510A77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IN" sz="1200" dirty="0"/>
            <a:t>Is data in standard format? (Data Normalization and Encoding)</a:t>
          </a:r>
        </a:p>
      </dgm:t>
    </dgm:pt>
    <dgm:pt modelId="{80242E2B-FFE4-4921-9BCC-6592F4D5B36A}" type="parTrans" cxnId="{9350695C-C866-4065-9846-5460D3747B9B}">
      <dgm:prSet/>
      <dgm:spPr/>
      <dgm:t>
        <a:bodyPr/>
        <a:lstStyle/>
        <a:p>
          <a:endParaRPr lang="en-IN"/>
        </a:p>
      </dgm:t>
    </dgm:pt>
    <dgm:pt modelId="{AA928720-5979-48FA-8B59-6BC84CFC3C88}" type="sibTrans" cxnId="{9350695C-C866-4065-9846-5460D3747B9B}">
      <dgm:prSet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/>
        </a:p>
      </dgm:t>
    </dgm:pt>
    <dgm:pt modelId="{37DD3551-71B7-4DB3-94CD-8B12FB4857C1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1200" dirty="0"/>
            <a:t>Is data aggregated </a:t>
          </a:r>
          <a:r>
            <a:rPr lang="en-US" sz="1200" b="0" i="0" dirty="0"/>
            <a:t>to aim for a near-real-time analytics platform</a:t>
          </a:r>
          <a:endParaRPr lang="en-IN" sz="1200" dirty="0"/>
        </a:p>
      </dgm:t>
    </dgm:pt>
    <dgm:pt modelId="{D551CE78-CF5B-480C-8A17-5134357FCDA2}" type="parTrans" cxnId="{E22F2CD8-0417-4329-8CDF-603B9F703E26}">
      <dgm:prSet/>
      <dgm:spPr/>
      <dgm:t>
        <a:bodyPr/>
        <a:lstStyle/>
        <a:p>
          <a:endParaRPr lang="en-IN"/>
        </a:p>
      </dgm:t>
    </dgm:pt>
    <dgm:pt modelId="{66965638-C73C-449C-B52A-2EDF348AEE6A}" type="sibTrans" cxnId="{E22F2CD8-0417-4329-8CDF-603B9F703E26}">
      <dgm:prSet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/>
        </a:p>
      </dgm:t>
    </dgm:pt>
    <dgm:pt modelId="{AD676B98-9038-4FA6-8CE8-474BE64D553F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1200" dirty="0"/>
            <a:t>Is data aggregated </a:t>
          </a:r>
          <a:r>
            <a:rPr lang="en-US" sz="1200" b="0" i="0" dirty="0"/>
            <a:t>to aim for a batch analytics platform</a:t>
          </a:r>
          <a:endParaRPr lang="en-IN" sz="1200" dirty="0"/>
        </a:p>
      </dgm:t>
    </dgm:pt>
    <dgm:pt modelId="{364B274C-20B8-4A63-AE43-8B561075103B}" type="parTrans" cxnId="{54079697-B43E-4F72-A1E3-66AE778DAB98}">
      <dgm:prSet/>
      <dgm:spPr/>
      <dgm:t>
        <a:bodyPr/>
        <a:lstStyle/>
        <a:p>
          <a:endParaRPr lang="en-IN"/>
        </a:p>
      </dgm:t>
    </dgm:pt>
    <dgm:pt modelId="{DE04F783-0DC7-465E-B2FE-8DE68345088E}" type="sibTrans" cxnId="{54079697-B43E-4F72-A1E3-66AE778DAB98}">
      <dgm:prSet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/>
        </a:p>
      </dgm:t>
    </dgm:pt>
    <dgm:pt modelId="{017D78DC-CB6A-4FA5-A4B4-17C3FC2B7764}">
      <dgm:prSet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IN" sz="1200" dirty="0"/>
            <a:t>Whether all the data is relevant for a given problem? (Feature Engineering)</a:t>
          </a:r>
        </a:p>
      </dgm:t>
    </dgm:pt>
    <dgm:pt modelId="{07E67BB7-D560-4F92-B4EF-5005E0967C3C}" type="parTrans" cxnId="{9FA23D10-1260-479A-B853-8C4AEA5E72D7}">
      <dgm:prSet/>
      <dgm:spPr/>
      <dgm:t>
        <a:bodyPr/>
        <a:lstStyle/>
        <a:p>
          <a:endParaRPr lang="en-IN"/>
        </a:p>
      </dgm:t>
    </dgm:pt>
    <dgm:pt modelId="{1A763835-9538-48D8-AF53-2EEC7EAB471C}" type="sibTrans" cxnId="{9FA23D10-1260-479A-B853-8C4AEA5E72D7}">
      <dgm:prSet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/>
        </a:p>
      </dgm:t>
    </dgm:pt>
    <dgm:pt modelId="{34438F28-3C90-4E48-BE25-61C2BB1F7691}">
      <dgm:prSet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1200" b="0" i="0" dirty="0"/>
            <a:t>Do we have all the required data? (Missing value imputation)</a:t>
          </a:r>
        </a:p>
      </dgm:t>
    </dgm:pt>
    <dgm:pt modelId="{F5A2F2EF-99F9-4158-B720-515FF0AAA51C}" type="parTrans" cxnId="{213623C9-4593-4A2D-9D83-91B7A52BEAD7}">
      <dgm:prSet/>
      <dgm:spPr/>
      <dgm:t>
        <a:bodyPr/>
        <a:lstStyle/>
        <a:p>
          <a:endParaRPr lang="en-IN"/>
        </a:p>
      </dgm:t>
    </dgm:pt>
    <dgm:pt modelId="{6F7FADC8-2546-4D42-989C-F26CD80C66C0}" type="sibTrans" cxnId="{213623C9-4593-4A2D-9D83-91B7A52BEAD7}">
      <dgm:prSet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/>
        </a:p>
      </dgm:t>
    </dgm:pt>
    <dgm:pt modelId="{3F22CA0F-A5E8-4008-864F-389199263D17}">
      <dgm:prSet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IN" sz="1200" dirty="0"/>
            <a:t>Brainstorm on Data required to solve the problem</a:t>
          </a:r>
        </a:p>
      </dgm:t>
    </dgm:pt>
    <dgm:pt modelId="{E2552137-5724-45C2-B770-887E9A9EDEFC}" type="parTrans" cxnId="{8D404FB3-4D8D-446A-994B-67E41D243DDD}">
      <dgm:prSet/>
      <dgm:spPr/>
      <dgm:t>
        <a:bodyPr/>
        <a:lstStyle/>
        <a:p>
          <a:endParaRPr lang="en-IN"/>
        </a:p>
      </dgm:t>
    </dgm:pt>
    <dgm:pt modelId="{B0797CBE-3057-415D-826A-7974711ED382}" type="sibTrans" cxnId="{8D404FB3-4D8D-446A-994B-67E41D243DDD}">
      <dgm:prSet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/>
        </a:p>
      </dgm:t>
    </dgm:pt>
    <dgm:pt modelId="{A6740409-D6AF-46CE-838E-E03FCCDAE4B7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1200" i="0" dirty="0"/>
            <a:t>Brainstorm about Storing the curated Data after applying transformations from previous steps </a:t>
          </a:r>
          <a:r>
            <a:rPr lang="en-IN" sz="1200" b="1" i="0" dirty="0"/>
            <a:t>The Silver Layer</a:t>
          </a:r>
          <a:endParaRPr lang="en-US" sz="1200" i="0" dirty="0"/>
        </a:p>
      </dgm:t>
    </dgm:pt>
    <dgm:pt modelId="{5510D5C0-D0FF-4444-BDC6-35C069328EAE}" type="sibTrans" cxnId="{26542DDB-59C7-469F-8912-F7A3CE38C3F5}">
      <dgm:prSet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/>
        </a:p>
      </dgm:t>
    </dgm:pt>
    <dgm:pt modelId="{657085AE-55EE-4ED4-BD5E-AD37B2A32847}" type="parTrans" cxnId="{26542DDB-59C7-469F-8912-F7A3CE38C3F5}">
      <dgm:prSet/>
      <dgm:spPr/>
      <dgm:t>
        <a:bodyPr/>
        <a:lstStyle/>
        <a:p>
          <a:endParaRPr lang="en-IN"/>
        </a:p>
      </dgm:t>
    </dgm:pt>
    <dgm:pt modelId="{E6D78C3C-29E6-45A4-AE34-3196A112882C}">
      <dgm:prSet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IN" sz="1200" dirty="0"/>
            <a:t>Manipulate and Summarize the data for Analysis (Pandas Operations) </a:t>
          </a:r>
        </a:p>
      </dgm:t>
    </dgm:pt>
    <dgm:pt modelId="{03236456-CB0F-44A3-9E1F-4376F2FBC2C9}" type="sibTrans" cxnId="{994C9DCD-256B-41EB-8772-BD3FADD68918}">
      <dgm:prSet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/>
        </a:p>
      </dgm:t>
    </dgm:pt>
    <dgm:pt modelId="{37032638-83DB-435A-9623-C158A4634ED4}" type="parTrans" cxnId="{994C9DCD-256B-41EB-8772-BD3FADD68918}">
      <dgm:prSet/>
      <dgm:spPr/>
      <dgm:t>
        <a:bodyPr/>
        <a:lstStyle/>
        <a:p>
          <a:endParaRPr lang="en-IN"/>
        </a:p>
      </dgm:t>
    </dgm:pt>
    <dgm:pt modelId="{ACC97F2C-2AFD-41EC-818D-9522498687EF}">
      <dgm:prSet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1200" dirty="0"/>
            <a:t>Brainstorm on Collecting / Ingesting Data from Different Sources such as </a:t>
          </a:r>
          <a:r>
            <a:rPr lang="en-US" sz="1200" dirty="0" err="1"/>
            <a:t>DBMS,Sensors</a:t>
          </a:r>
          <a:r>
            <a:rPr lang="en-US" sz="1200" dirty="0"/>
            <a:t> </a:t>
          </a:r>
          <a:r>
            <a:rPr lang="en-US" sz="1200" dirty="0" err="1"/>
            <a:t>etc</a:t>
          </a:r>
          <a:endParaRPr lang="en-IN" sz="1200" dirty="0"/>
        </a:p>
      </dgm:t>
    </dgm:pt>
    <dgm:pt modelId="{6630F2D3-DB28-40D4-BBE5-AB6A501BEB7B}" type="parTrans" cxnId="{FABD4FD4-C3CB-4B78-BCFB-78C6CAD88671}">
      <dgm:prSet/>
      <dgm:spPr/>
      <dgm:t>
        <a:bodyPr/>
        <a:lstStyle/>
        <a:p>
          <a:endParaRPr lang="en-IN"/>
        </a:p>
      </dgm:t>
    </dgm:pt>
    <dgm:pt modelId="{683EE7D2-FFC5-4E1B-95A2-8EA9BDD6C13F}" type="sibTrans" cxnId="{FABD4FD4-C3CB-4B78-BCFB-78C6CAD88671}">
      <dgm:prSet/>
      <dgm:spPr/>
      <dgm:t>
        <a:bodyPr/>
        <a:lstStyle/>
        <a:p>
          <a:endParaRPr lang="en-IN"/>
        </a:p>
      </dgm:t>
    </dgm:pt>
    <dgm:pt modelId="{536A1C5E-D42E-4FB9-89BE-03D0E74CBBC2}">
      <dgm:prSet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1200" dirty="0"/>
            <a:t>Brainstorm on data format ( structured , semi structured , unstructured) file format (</a:t>
          </a:r>
          <a:r>
            <a:rPr lang="en-US" sz="1200" dirty="0" err="1"/>
            <a:t>xml,json</a:t>
          </a:r>
          <a:r>
            <a:rPr lang="en-US" sz="1200" dirty="0"/>
            <a:t> </a:t>
          </a:r>
          <a:r>
            <a:rPr lang="en-US" sz="1200" dirty="0" err="1"/>
            <a:t>etc</a:t>
          </a:r>
          <a:r>
            <a:rPr lang="en-US" sz="1200" dirty="0"/>
            <a:t> ..)</a:t>
          </a:r>
          <a:endParaRPr lang="en-IN" sz="1200" dirty="0"/>
        </a:p>
      </dgm:t>
    </dgm:pt>
    <dgm:pt modelId="{CD3CAE28-055D-4585-8A50-A50778801C55}" type="parTrans" cxnId="{505E3716-C5BC-4B73-BE50-8ADCDC44FB7E}">
      <dgm:prSet/>
      <dgm:spPr/>
      <dgm:t>
        <a:bodyPr/>
        <a:lstStyle/>
        <a:p>
          <a:endParaRPr lang="en-IN"/>
        </a:p>
      </dgm:t>
    </dgm:pt>
    <dgm:pt modelId="{B4B17B5E-74BE-401B-A8E2-B242B6228320}" type="sibTrans" cxnId="{505E3716-C5BC-4B73-BE50-8ADCDC44FB7E}">
      <dgm:prSet/>
      <dgm:spPr/>
      <dgm:t>
        <a:bodyPr/>
        <a:lstStyle/>
        <a:p>
          <a:endParaRPr lang="en-IN"/>
        </a:p>
      </dgm:t>
    </dgm:pt>
    <dgm:pt modelId="{13498A79-895B-4B20-88AC-201FFB577C3F}">
      <dgm:prSet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1200" dirty="0"/>
            <a:t>Brainstorm about raw data storage (destinations such as data lakes) </a:t>
          </a:r>
          <a:r>
            <a:rPr lang="en-IN" sz="1200" b="0" i="0" dirty="0"/>
            <a:t>bronze layer</a:t>
          </a:r>
          <a:endParaRPr lang="en-IN" sz="1200" dirty="0"/>
        </a:p>
      </dgm:t>
    </dgm:pt>
    <dgm:pt modelId="{2F703118-6636-4A88-BC06-6F1C39EB0343}" type="parTrans" cxnId="{8BCA2AA0-D869-4383-8A42-3C9E2E781A97}">
      <dgm:prSet/>
      <dgm:spPr/>
      <dgm:t>
        <a:bodyPr/>
        <a:lstStyle/>
        <a:p>
          <a:endParaRPr lang="en-IN"/>
        </a:p>
      </dgm:t>
    </dgm:pt>
    <dgm:pt modelId="{EEE93B1D-F264-4094-920A-B6D74F7F595E}" type="sibTrans" cxnId="{8BCA2AA0-D869-4383-8A42-3C9E2E781A97}">
      <dgm:prSet/>
      <dgm:spPr/>
      <dgm:t>
        <a:bodyPr/>
        <a:lstStyle/>
        <a:p>
          <a:endParaRPr lang="en-IN"/>
        </a:p>
      </dgm:t>
    </dgm:pt>
    <dgm:pt modelId="{31788FD6-B45B-4376-85C5-EF6D5EEF8AB1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1200" dirty="0"/>
            <a:t>Brainstorm about Storing the aggregated Data after applying aggregations from previous steps The Gold Layer</a:t>
          </a:r>
          <a:endParaRPr lang="en-IN" sz="1200" dirty="0"/>
        </a:p>
      </dgm:t>
    </dgm:pt>
    <dgm:pt modelId="{7F71947E-23AA-4445-8471-2F7E9746F75F}" type="parTrans" cxnId="{D398DE4E-8795-4D46-A1D7-296A95ACF40C}">
      <dgm:prSet/>
      <dgm:spPr/>
      <dgm:t>
        <a:bodyPr/>
        <a:lstStyle/>
        <a:p>
          <a:endParaRPr lang="en-IN"/>
        </a:p>
      </dgm:t>
    </dgm:pt>
    <dgm:pt modelId="{4F31D398-212B-4DFA-A884-74166FD63441}" type="sibTrans" cxnId="{D398DE4E-8795-4D46-A1D7-296A95ACF40C}">
      <dgm:prSet/>
      <dgm:spPr/>
      <dgm:t>
        <a:bodyPr/>
        <a:lstStyle/>
        <a:p>
          <a:endParaRPr lang="en-IN"/>
        </a:p>
      </dgm:t>
    </dgm:pt>
    <dgm:pt modelId="{832A93AB-CD07-4CC2-8788-F94E7B5C791A}">
      <dgm:prSet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1200" dirty="0"/>
            <a:t>Brainstorm about different transformations such as </a:t>
          </a:r>
          <a:r>
            <a:rPr lang="en-IN" sz="1200" b="1" i="0" dirty="0"/>
            <a:t>standardization</a:t>
          </a:r>
          <a:r>
            <a:rPr lang="en-IN" sz="1200" b="0" i="0" dirty="0"/>
            <a:t>, </a:t>
          </a:r>
          <a:r>
            <a:rPr lang="en-IN" sz="1200" b="1" i="0" dirty="0"/>
            <a:t>declassification</a:t>
          </a:r>
          <a:r>
            <a:rPr lang="en-IN" sz="1200" b="0" i="0" dirty="0"/>
            <a:t>, </a:t>
          </a:r>
          <a:r>
            <a:rPr lang="en-IN" sz="1200" b="1" i="0" dirty="0" err="1"/>
            <a:t>deduplication,aggregation</a:t>
          </a:r>
          <a:endParaRPr lang="en-IN" sz="1200" dirty="0"/>
        </a:p>
      </dgm:t>
    </dgm:pt>
    <dgm:pt modelId="{BE68D911-C435-4EE2-AACA-297DA7BA2E7D}" type="parTrans" cxnId="{4F5AFE92-95A8-491A-B659-74EA4544D745}">
      <dgm:prSet/>
      <dgm:spPr/>
      <dgm:t>
        <a:bodyPr/>
        <a:lstStyle/>
        <a:p>
          <a:endParaRPr lang="en-IN"/>
        </a:p>
      </dgm:t>
    </dgm:pt>
    <dgm:pt modelId="{E184F427-93CE-4632-AE15-88218959C164}" type="sibTrans" cxnId="{4F5AFE92-95A8-491A-B659-74EA4544D745}">
      <dgm:prSet/>
      <dgm:spPr/>
      <dgm:t>
        <a:bodyPr/>
        <a:lstStyle/>
        <a:p>
          <a:endParaRPr lang="en-IN"/>
        </a:p>
      </dgm:t>
    </dgm:pt>
    <dgm:pt modelId="{B257BFBC-2899-4F3B-97D8-7055DE49DD1E}" type="pres">
      <dgm:prSet presAssocID="{C777DB5A-1EC4-4CFF-AB85-3B558D93224F}" presName="diagram" presStyleCnt="0">
        <dgm:presLayoutVars>
          <dgm:dir/>
          <dgm:resizeHandles val="exact"/>
        </dgm:presLayoutVars>
      </dgm:prSet>
      <dgm:spPr/>
    </dgm:pt>
    <dgm:pt modelId="{23706A47-7738-4F63-B1F6-1D6E7F576A3F}" type="pres">
      <dgm:prSet presAssocID="{A4AAA935-27A4-49EC-9D4D-916D77A98079}" presName="node" presStyleLbl="node1" presStyleIdx="0" presStyleCnt="15">
        <dgm:presLayoutVars>
          <dgm:bulletEnabled val="1"/>
        </dgm:presLayoutVars>
      </dgm:prSet>
      <dgm:spPr/>
    </dgm:pt>
    <dgm:pt modelId="{F766487E-02DF-418B-95CF-4C5392AEE3DE}" type="pres">
      <dgm:prSet presAssocID="{D1988C18-494A-4F3A-ACDE-46B925B58774}" presName="sibTrans" presStyleLbl="sibTrans2D1" presStyleIdx="0" presStyleCnt="14"/>
      <dgm:spPr/>
    </dgm:pt>
    <dgm:pt modelId="{CEF7CDB3-FD2B-4B79-BC05-488ABF756DE5}" type="pres">
      <dgm:prSet presAssocID="{D1988C18-494A-4F3A-ACDE-46B925B58774}" presName="connectorText" presStyleLbl="sibTrans2D1" presStyleIdx="0" presStyleCnt="14"/>
      <dgm:spPr/>
    </dgm:pt>
    <dgm:pt modelId="{2DC51319-BDFD-4889-80A5-D123BA7121B8}" type="pres">
      <dgm:prSet presAssocID="{3B73F755-B2C1-4E3D-A80F-9F7E009A35A4}" presName="node" presStyleLbl="node1" presStyleIdx="1" presStyleCnt="15">
        <dgm:presLayoutVars>
          <dgm:bulletEnabled val="1"/>
        </dgm:presLayoutVars>
      </dgm:prSet>
      <dgm:spPr/>
    </dgm:pt>
    <dgm:pt modelId="{00D1DF38-6B13-47BE-8133-905CF4252855}" type="pres">
      <dgm:prSet presAssocID="{4F9A4A42-F68F-463D-8EB2-B40C4837B264}" presName="sibTrans" presStyleLbl="sibTrans2D1" presStyleIdx="1" presStyleCnt="14"/>
      <dgm:spPr/>
    </dgm:pt>
    <dgm:pt modelId="{21E89BD9-51D0-4BB0-810D-106D0E563DEA}" type="pres">
      <dgm:prSet presAssocID="{4F9A4A42-F68F-463D-8EB2-B40C4837B264}" presName="connectorText" presStyleLbl="sibTrans2D1" presStyleIdx="1" presStyleCnt="14"/>
      <dgm:spPr/>
    </dgm:pt>
    <dgm:pt modelId="{596A2F3D-0456-42D6-A883-6A7C2CBE1C93}" type="pres">
      <dgm:prSet presAssocID="{3F22CA0F-A5E8-4008-864F-389199263D17}" presName="node" presStyleLbl="node1" presStyleIdx="2" presStyleCnt="15">
        <dgm:presLayoutVars>
          <dgm:bulletEnabled val="1"/>
        </dgm:presLayoutVars>
      </dgm:prSet>
      <dgm:spPr/>
    </dgm:pt>
    <dgm:pt modelId="{2DEA88BF-478E-475C-B0C1-AFE44308E5BA}" type="pres">
      <dgm:prSet presAssocID="{B0797CBE-3057-415D-826A-7974711ED382}" presName="sibTrans" presStyleLbl="sibTrans2D1" presStyleIdx="2" presStyleCnt="14"/>
      <dgm:spPr/>
    </dgm:pt>
    <dgm:pt modelId="{C9B002AD-BF96-4BC3-A5D9-D3BFF2B8F4C0}" type="pres">
      <dgm:prSet presAssocID="{B0797CBE-3057-415D-826A-7974711ED382}" presName="connectorText" presStyleLbl="sibTrans2D1" presStyleIdx="2" presStyleCnt="14"/>
      <dgm:spPr/>
    </dgm:pt>
    <dgm:pt modelId="{D54D6571-981E-42C1-8056-DB1BBD85473F}" type="pres">
      <dgm:prSet presAssocID="{ACC97F2C-2AFD-41EC-818D-9522498687EF}" presName="node" presStyleLbl="node1" presStyleIdx="3" presStyleCnt="15">
        <dgm:presLayoutVars>
          <dgm:bulletEnabled val="1"/>
        </dgm:presLayoutVars>
      </dgm:prSet>
      <dgm:spPr/>
    </dgm:pt>
    <dgm:pt modelId="{55EFF863-8201-4592-8EEB-97BA71188AAE}" type="pres">
      <dgm:prSet presAssocID="{683EE7D2-FFC5-4E1B-95A2-8EA9BDD6C13F}" presName="sibTrans" presStyleLbl="sibTrans2D1" presStyleIdx="3" presStyleCnt="14"/>
      <dgm:spPr/>
    </dgm:pt>
    <dgm:pt modelId="{9EB04EE8-38CE-4CBB-A2DF-BEA972F50C3D}" type="pres">
      <dgm:prSet presAssocID="{683EE7D2-FFC5-4E1B-95A2-8EA9BDD6C13F}" presName="connectorText" presStyleLbl="sibTrans2D1" presStyleIdx="3" presStyleCnt="14"/>
      <dgm:spPr/>
    </dgm:pt>
    <dgm:pt modelId="{98264AE5-5027-4FFC-9967-D0B8BE1349CC}" type="pres">
      <dgm:prSet presAssocID="{536A1C5E-D42E-4FB9-89BE-03D0E74CBBC2}" presName="node" presStyleLbl="node1" presStyleIdx="4" presStyleCnt="15">
        <dgm:presLayoutVars>
          <dgm:bulletEnabled val="1"/>
        </dgm:presLayoutVars>
      </dgm:prSet>
      <dgm:spPr/>
    </dgm:pt>
    <dgm:pt modelId="{6C35D967-7B72-49AD-A49C-4AC304864AC5}" type="pres">
      <dgm:prSet presAssocID="{B4B17B5E-74BE-401B-A8E2-B242B6228320}" presName="sibTrans" presStyleLbl="sibTrans2D1" presStyleIdx="4" presStyleCnt="14"/>
      <dgm:spPr/>
    </dgm:pt>
    <dgm:pt modelId="{D9B883A6-C51A-48F6-9FB3-7490AAAD2111}" type="pres">
      <dgm:prSet presAssocID="{B4B17B5E-74BE-401B-A8E2-B242B6228320}" presName="connectorText" presStyleLbl="sibTrans2D1" presStyleIdx="4" presStyleCnt="14"/>
      <dgm:spPr/>
    </dgm:pt>
    <dgm:pt modelId="{3023F040-88BC-4492-B67A-CC1F782C3C0B}" type="pres">
      <dgm:prSet presAssocID="{13498A79-895B-4B20-88AC-201FFB577C3F}" presName="node" presStyleLbl="node1" presStyleIdx="5" presStyleCnt="15">
        <dgm:presLayoutVars>
          <dgm:bulletEnabled val="1"/>
        </dgm:presLayoutVars>
      </dgm:prSet>
      <dgm:spPr/>
    </dgm:pt>
    <dgm:pt modelId="{E11E27C0-3084-49CE-8050-E7876895B0AE}" type="pres">
      <dgm:prSet presAssocID="{EEE93B1D-F264-4094-920A-B6D74F7F595E}" presName="sibTrans" presStyleLbl="sibTrans2D1" presStyleIdx="5" presStyleCnt="14"/>
      <dgm:spPr/>
    </dgm:pt>
    <dgm:pt modelId="{490C53A2-60B4-4D4A-95C4-56ADE97D2D76}" type="pres">
      <dgm:prSet presAssocID="{EEE93B1D-F264-4094-920A-B6D74F7F595E}" presName="connectorText" presStyleLbl="sibTrans2D1" presStyleIdx="5" presStyleCnt="14"/>
      <dgm:spPr/>
    </dgm:pt>
    <dgm:pt modelId="{FE865C3A-A875-4168-890A-5A8FAE5E3FD2}" type="pres">
      <dgm:prSet presAssocID="{832A93AB-CD07-4CC2-8788-F94E7B5C791A}" presName="node" presStyleLbl="node1" presStyleIdx="6" presStyleCnt="15" custScaleX="126761" custScaleY="118984">
        <dgm:presLayoutVars>
          <dgm:bulletEnabled val="1"/>
        </dgm:presLayoutVars>
      </dgm:prSet>
      <dgm:spPr/>
    </dgm:pt>
    <dgm:pt modelId="{FB73616F-E31E-4062-A98E-97D3067FF60D}" type="pres">
      <dgm:prSet presAssocID="{E184F427-93CE-4632-AE15-88218959C164}" presName="sibTrans" presStyleLbl="sibTrans2D1" presStyleIdx="6" presStyleCnt="14"/>
      <dgm:spPr/>
    </dgm:pt>
    <dgm:pt modelId="{47BB6AC3-B61D-444D-B543-F893EF65FD07}" type="pres">
      <dgm:prSet presAssocID="{E184F427-93CE-4632-AE15-88218959C164}" presName="connectorText" presStyleLbl="sibTrans2D1" presStyleIdx="6" presStyleCnt="14"/>
      <dgm:spPr/>
    </dgm:pt>
    <dgm:pt modelId="{A6832D38-5B9F-42B3-A7DA-4ACFD247FBE1}" type="pres">
      <dgm:prSet presAssocID="{E6D78C3C-29E6-45A4-AE34-3196A112882C}" presName="node" presStyleLbl="node1" presStyleIdx="7" presStyleCnt="15">
        <dgm:presLayoutVars>
          <dgm:bulletEnabled val="1"/>
        </dgm:presLayoutVars>
      </dgm:prSet>
      <dgm:spPr/>
    </dgm:pt>
    <dgm:pt modelId="{EB68B4F5-922C-4019-B870-B6EC76B4FF8E}" type="pres">
      <dgm:prSet presAssocID="{03236456-CB0F-44A3-9E1F-4376F2FBC2C9}" presName="sibTrans" presStyleLbl="sibTrans2D1" presStyleIdx="7" presStyleCnt="14"/>
      <dgm:spPr/>
    </dgm:pt>
    <dgm:pt modelId="{DB5B0FE1-372A-4FC1-B989-511C1DA3D96E}" type="pres">
      <dgm:prSet presAssocID="{03236456-CB0F-44A3-9E1F-4376F2FBC2C9}" presName="connectorText" presStyleLbl="sibTrans2D1" presStyleIdx="7" presStyleCnt="14"/>
      <dgm:spPr/>
    </dgm:pt>
    <dgm:pt modelId="{EF313EF8-8788-4B45-B0B1-73EEB08126F3}" type="pres">
      <dgm:prSet presAssocID="{017D78DC-CB6A-4FA5-A4B4-17C3FC2B7764}" presName="node" presStyleLbl="node1" presStyleIdx="8" presStyleCnt="15">
        <dgm:presLayoutVars>
          <dgm:bulletEnabled val="1"/>
        </dgm:presLayoutVars>
      </dgm:prSet>
      <dgm:spPr/>
    </dgm:pt>
    <dgm:pt modelId="{91BD7DE4-75B3-43FB-BE95-C60F8EFE0E37}" type="pres">
      <dgm:prSet presAssocID="{1A763835-9538-48D8-AF53-2EEC7EAB471C}" presName="sibTrans" presStyleLbl="sibTrans2D1" presStyleIdx="8" presStyleCnt="14"/>
      <dgm:spPr/>
    </dgm:pt>
    <dgm:pt modelId="{F9F768AA-9CE0-4061-A271-CEB84E05F4E8}" type="pres">
      <dgm:prSet presAssocID="{1A763835-9538-48D8-AF53-2EEC7EAB471C}" presName="connectorText" presStyleLbl="sibTrans2D1" presStyleIdx="8" presStyleCnt="14"/>
      <dgm:spPr/>
    </dgm:pt>
    <dgm:pt modelId="{08AC4E95-34A8-415F-986A-C27ED3730F0B}" type="pres">
      <dgm:prSet presAssocID="{34438F28-3C90-4E48-BE25-61C2BB1F7691}" presName="node" presStyleLbl="node1" presStyleIdx="9" presStyleCnt="15">
        <dgm:presLayoutVars>
          <dgm:bulletEnabled val="1"/>
        </dgm:presLayoutVars>
      </dgm:prSet>
      <dgm:spPr/>
    </dgm:pt>
    <dgm:pt modelId="{BF0B8F25-0EE7-400B-B3DA-32FDC731AEB5}" type="pres">
      <dgm:prSet presAssocID="{6F7FADC8-2546-4D42-989C-F26CD80C66C0}" presName="sibTrans" presStyleLbl="sibTrans2D1" presStyleIdx="9" presStyleCnt="14"/>
      <dgm:spPr/>
    </dgm:pt>
    <dgm:pt modelId="{E08D4E8E-70DF-49B7-8F26-342A64478536}" type="pres">
      <dgm:prSet presAssocID="{6F7FADC8-2546-4D42-989C-F26CD80C66C0}" presName="connectorText" presStyleLbl="sibTrans2D1" presStyleIdx="9" presStyleCnt="14"/>
      <dgm:spPr/>
    </dgm:pt>
    <dgm:pt modelId="{76D10E73-663C-4FDC-94FC-6896BD1EF914}" type="pres">
      <dgm:prSet presAssocID="{F6070C88-4A83-4ADD-8BAB-09F5B4510A77}" presName="node" presStyleLbl="node1" presStyleIdx="10" presStyleCnt="15">
        <dgm:presLayoutVars>
          <dgm:bulletEnabled val="1"/>
        </dgm:presLayoutVars>
      </dgm:prSet>
      <dgm:spPr/>
    </dgm:pt>
    <dgm:pt modelId="{66E4054F-647D-4318-A1AF-D9DD70E74389}" type="pres">
      <dgm:prSet presAssocID="{AA928720-5979-48FA-8B59-6BC84CFC3C88}" presName="sibTrans" presStyleLbl="sibTrans2D1" presStyleIdx="10" presStyleCnt="14"/>
      <dgm:spPr/>
    </dgm:pt>
    <dgm:pt modelId="{9F9D7192-3F55-49A8-A9DE-01EDD96FCFD4}" type="pres">
      <dgm:prSet presAssocID="{AA928720-5979-48FA-8B59-6BC84CFC3C88}" presName="connectorText" presStyleLbl="sibTrans2D1" presStyleIdx="10" presStyleCnt="14"/>
      <dgm:spPr/>
    </dgm:pt>
    <dgm:pt modelId="{7919EF46-B699-4D60-8329-3207A6618490}" type="pres">
      <dgm:prSet presAssocID="{A6740409-D6AF-46CE-838E-E03FCCDAE4B7}" presName="node" presStyleLbl="node1" presStyleIdx="11" presStyleCnt="15" custScaleX="113123" custScaleY="107933">
        <dgm:presLayoutVars>
          <dgm:bulletEnabled val="1"/>
        </dgm:presLayoutVars>
      </dgm:prSet>
      <dgm:spPr/>
    </dgm:pt>
    <dgm:pt modelId="{BD73194B-12E3-4579-AB75-FAE1999BA4BD}" type="pres">
      <dgm:prSet presAssocID="{5510D5C0-D0FF-4444-BDC6-35C069328EAE}" presName="sibTrans" presStyleLbl="sibTrans2D1" presStyleIdx="11" presStyleCnt="14"/>
      <dgm:spPr/>
    </dgm:pt>
    <dgm:pt modelId="{3C95707E-17EC-4D92-B14C-E80D47C130DD}" type="pres">
      <dgm:prSet presAssocID="{5510D5C0-D0FF-4444-BDC6-35C069328EAE}" presName="connectorText" presStyleLbl="sibTrans2D1" presStyleIdx="11" presStyleCnt="14"/>
      <dgm:spPr/>
    </dgm:pt>
    <dgm:pt modelId="{30269E0D-C268-4E98-BDE5-AC7B56062017}" type="pres">
      <dgm:prSet presAssocID="{37DD3551-71B7-4DB3-94CD-8B12FB4857C1}" presName="node" presStyleLbl="node1" presStyleIdx="12" presStyleCnt="15">
        <dgm:presLayoutVars>
          <dgm:bulletEnabled val="1"/>
        </dgm:presLayoutVars>
      </dgm:prSet>
      <dgm:spPr/>
    </dgm:pt>
    <dgm:pt modelId="{444E853E-802B-4CDD-9A85-A4DDD96EF6F0}" type="pres">
      <dgm:prSet presAssocID="{66965638-C73C-449C-B52A-2EDF348AEE6A}" presName="sibTrans" presStyleLbl="sibTrans2D1" presStyleIdx="12" presStyleCnt="14"/>
      <dgm:spPr/>
    </dgm:pt>
    <dgm:pt modelId="{61991A2F-965D-4B0C-9B47-A6386A819F6F}" type="pres">
      <dgm:prSet presAssocID="{66965638-C73C-449C-B52A-2EDF348AEE6A}" presName="connectorText" presStyleLbl="sibTrans2D1" presStyleIdx="12" presStyleCnt="14"/>
      <dgm:spPr/>
    </dgm:pt>
    <dgm:pt modelId="{666C6A27-48B9-4BBF-BF66-EB4034E97E5A}" type="pres">
      <dgm:prSet presAssocID="{AD676B98-9038-4FA6-8CE8-474BE64D553F}" presName="node" presStyleLbl="node1" presStyleIdx="13" presStyleCnt="15">
        <dgm:presLayoutVars>
          <dgm:bulletEnabled val="1"/>
        </dgm:presLayoutVars>
      </dgm:prSet>
      <dgm:spPr/>
    </dgm:pt>
    <dgm:pt modelId="{CC669B43-F675-4328-8E49-5DF8A58EBF06}" type="pres">
      <dgm:prSet presAssocID="{DE04F783-0DC7-465E-B2FE-8DE68345088E}" presName="sibTrans" presStyleLbl="sibTrans2D1" presStyleIdx="13" presStyleCnt="14"/>
      <dgm:spPr/>
    </dgm:pt>
    <dgm:pt modelId="{C4C805C1-2F37-4B6C-812F-A8A7327CBBA1}" type="pres">
      <dgm:prSet presAssocID="{DE04F783-0DC7-465E-B2FE-8DE68345088E}" presName="connectorText" presStyleLbl="sibTrans2D1" presStyleIdx="13" presStyleCnt="14"/>
      <dgm:spPr/>
    </dgm:pt>
    <dgm:pt modelId="{EE2BFB6E-7DCE-4DB8-8F9A-55A189CBBDCE}" type="pres">
      <dgm:prSet presAssocID="{31788FD6-B45B-4376-85C5-EF6D5EEF8AB1}" presName="node" presStyleLbl="node1" presStyleIdx="14" presStyleCnt="15" custScaleX="115119" custScaleY="111261">
        <dgm:presLayoutVars>
          <dgm:bulletEnabled val="1"/>
        </dgm:presLayoutVars>
      </dgm:prSet>
      <dgm:spPr/>
    </dgm:pt>
  </dgm:ptLst>
  <dgm:cxnLst>
    <dgm:cxn modelId="{785D9C02-63E5-4C8A-A816-C4D7FD722EEA}" type="presOf" srcId="{B4B17B5E-74BE-401B-A8E2-B242B6228320}" destId="{6C35D967-7B72-49AD-A49C-4AC304864AC5}" srcOrd="0" destOrd="0" presId="urn:microsoft.com/office/officeart/2005/8/layout/process5"/>
    <dgm:cxn modelId="{9FA23D10-1260-479A-B853-8C4AEA5E72D7}" srcId="{C777DB5A-1EC4-4CFF-AB85-3B558D93224F}" destId="{017D78DC-CB6A-4FA5-A4B4-17C3FC2B7764}" srcOrd="8" destOrd="0" parTransId="{07E67BB7-D560-4F92-B4EF-5005E0967C3C}" sibTransId="{1A763835-9538-48D8-AF53-2EEC7EAB471C}"/>
    <dgm:cxn modelId="{0ABB4B11-9B59-4ABE-ABEF-8217472A1A70}" type="presOf" srcId="{03236456-CB0F-44A3-9E1F-4376F2FBC2C9}" destId="{DB5B0FE1-372A-4FC1-B989-511C1DA3D96E}" srcOrd="1" destOrd="0" presId="urn:microsoft.com/office/officeart/2005/8/layout/process5"/>
    <dgm:cxn modelId="{F0F3E011-3903-4B99-89D2-E02D0F6E58B2}" type="presOf" srcId="{DE04F783-0DC7-465E-B2FE-8DE68345088E}" destId="{CC669B43-F675-4328-8E49-5DF8A58EBF06}" srcOrd="0" destOrd="0" presId="urn:microsoft.com/office/officeart/2005/8/layout/process5"/>
    <dgm:cxn modelId="{505E3716-C5BC-4B73-BE50-8ADCDC44FB7E}" srcId="{C777DB5A-1EC4-4CFF-AB85-3B558D93224F}" destId="{536A1C5E-D42E-4FB9-89BE-03D0E74CBBC2}" srcOrd="4" destOrd="0" parTransId="{CD3CAE28-055D-4585-8A50-A50778801C55}" sibTransId="{B4B17B5E-74BE-401B-A8E2-B242B6228320}"/>
    <dgm:cxn modelId="{7B7DDC1E-7DAC-4A78-9436-5693F2B1FB16}" type="presOf" srcId="{017D78DC-CB6A-4FA5-A4B4-17C3FC2B7764}" destId="{EF313EF8-8788-4B45-B0B1-73EEB08126F3}" srcOrd="0" destOrd="0" presId="urn:microsoft.com/office/officeart/2005/8/layout/process5"/>
    <dgm:cxn modelId="{0284721F-7A9E-4B39-BCFD-CEFE6451A09F}" type="presOf" srcId="{AD676B98-9038-4FA6-8CE8-474BE64D553F}" destId="{666C6A27-48B9-4BBF-BF66-EB4034E97E5A}" srcOrd="0" destOrd="0" presId="urn:microsoft.com/office/officeart/2005/8/layout/process5"/>
    <dgm:cxn modelId="{3DF9DB22-E9FF-4FE7-AD9F-F6A5ACBC6F3A}" type="presOf" srcId="{DE04F783-0DC7-465E-B2FE-8DE68345088E}" destId="{C4C805C1-2F37-4B6C-812F-A8A7327CBBA1}" srcOrd="1" destOrd="0" presId="urn:microsoft.com/office/officeart/2005/8/layout/process5"/>
    <dgm:cxn modelId="{A18AA227-66BE-4D4F-B9F9-54BF461ECF28}" type="presOf" srcId="{F6070C88-4A83-4ADD-8BAB-09F5B4510A77}" destId="{76D10E73-663C-4FDC-94FC-6896BD1EF914}" srcOrd="0" destOrd="0" presId="urn:microsoft.com/office/officeart/2005/8/layout/process5"/>
    <dgm:cxn modelId="{2692ED27-70BA-4E9C-9AF5-9EC08FA78684}" type="presOf" srcId="{EEE93B1D-F264-4094-920A-B6D74F7F595E}" destId="{E11E27C0-3084-49CE-8050-E7876895B0AE}" srcOrd="0" destOrd="0" presId="urn:microsoft.com/office/officeart/2005/8/layout/process5"/>
    <dgm:cxn modelId="{79A4082E-4A86-4681-92F0-10E4207D6181}" type="presOf" srcId="{3F22CA0F-A5E8-4008-864F-389199263D17}" destId="{596A2F3D-0456-42D6-A883-6A7C2CBE1C93}" srcOrd="0" destOrd="0" presId="urn:microsoft.com/office/officeart/2005/8/layout/process5"/>
    <dgm:cxn modelId="{A028A532-7316-4E9A-AF33-F44741EBE461}" type="presOf" srcId="{1A763835-9538-48D8-AF53-2EEC7EAB471C}" destId="{91BD7DE4-75B3-43FB-BE95-C60F8EFE0E37}" srcOrd="0" destOrd="0" presId="urn:microsoft.com/office/officeart/2005/8/layout/process5"/>
    <dgm:cxn modelId="{2432AC3C-52EC-4704-9645-1DE335C06625}" type="presOf" srcId="{1A763835-9538-48D8-AF53-2EEC7EAB471C}" destId="{F9F768AA-9CE0-4061-A271-CEB84E05F4E8}" srcOrd="1" destOrd="0" presId="urn:microsoft.com/office/officeart/2005/8/layout/process5"/>
    <dgm:cxn modelId="{9350695C-C866-4065-9846-5460D3747B9B}" srcId="{C777DB5A-1EC4-4CFF-AB85-3B558D93224F}" destId="{F6070C88-4A83-4ADD-8BAB-09F5B4510A77}" srcOrd="10" destOrd="0" parTransId="{80242E2B-FFE4-4921-9BCC-6592F4D5B36A}" sibTransId="{AA928720-5979-48FA-8B59-6BC84CFC3C88}"/>
    <dgm:cxn modelId="{8EE2815C-F73E-48F1-8874-5C8A622E4110}" type="presOf" srcId="{683EE7D2-FFC5-4E1B-95A2-8EA9BDD6C13F}" destId="{55EFF863-8201-4592-8EEB-97BA71188AAE}" srcOrd="0" destOrd="0" presId="urn:microsoft.com/office/officeart/2005/8/layout/process5"/>
    <dgm:cxn modelId="{8A104F62-817F-43AE-986A-5C76751B5B53}" type="presOf" srcId="{E184F427-93CE-4632-AE15-88218959C164}" destId="{FB73616F-E31E-4062-A98E-97D3067FF60D}" srcOrd="0" destOrd="0" presId="urn:microsoft.com/office/officeart/2005/8/layout/process5"/>
    <dgm:cxn modelId="{6A4AC663-D377-428D-81C6-34754043ABD7}" type="presOf" srcId="{B0797CBE-3057-415D-826A-7974711ED382}" destId="{2DEA88BF-478E-475C-B0C1-AFE44308E5BA}" srcOrd="0" destOrd="0" presId="urn:microsoft.com/office/officeart/2005/8/layout/process5"/>
    <dgm:cxn modelId="{4A2FFA45-6B36-430F-931D-4166DA37C7CE}" type="presOf" srcId="{6F7FADC8-2546-4D42-989C-F26CD80C66C0}" destId="{E08D4E8E-70DF-49B7-8F26-342A64478536}" srcOrd="1" destOrd="0" presId="urn:microsoft.com/office/officeart/2005/8/layout/process5"/>
    <dgm:cxn modelId="{EC92306A-3DEF-45E0-B4AE-3A77C2B4FAD0}" srcId="{C777DB5A-1EC4-4CFF-AB85-3B558D93224F}" destId="{A4AAA935-27A4-49EC-9D4D-916D77A98079}" srcOrd="0" destOrd="0" parTransId="{714BC884-D31B-4CFB-9A0D-6194A89C0AA0}" sibTransId="{D1988C18-494A-4F3A-ACDE-46B925B58774}"/>
    <dgm:cxn modelId="{2438684A-71E0-4772-8122-C5311198BADF}" type="presOf" srcId="{37DD3551-71B7-4DB3-94CD-8B12FB4857C1}" destId="{30269E0D-C268-4E98-BDE5-AC7B56062017}" srcOrd="0" destOrd="0" presId="urn:microsoft.com/office/officeart/2005/8/layout/process5"/>
    <dgm:cxn modelId="{3C1AB74C-BAD0-4A25-8B62-B930BE2B4281}" type="presOf" srcId="{03236456-CB0F-44A3-9E1F-4376F2FBC2C9}" destId="{EB68B4F5-922C-4019-B870-B6EC76B4FF8E}" srcOrd="0" destOrd="0" presId="urn:microsoft.com/office/officeart/2005/8/layout/process5"/>
    <dgm:cxn modelId="{EAE7A84D-1699-4049-B776-1FCA732E4487}" type="presOf" srcId="{4F9A4A42-F68F-463D-8EB2-B40C4837B264}" destId="{00D1DF38-6B13-47BE-8133-905CF4252855}" srcOrd="0" destOrd="0" presId="urn:microsoft.com/office/officeart/2005/8/layout/process5"/>
    <dgm:cxn modelId="{D398DE4E-8795-4D46-A1D7-296A95ACF40C}" srcId="{C777DB5A-1EC4-4CFF-AB85-3B558D93224F}" destId="{31788FD6-B45B-4376-85C5-EF6D5EEF8AB1}" srcOrd="14" destOrd="0" parTransId="{7F71947E-23AA-4445-8471-2F7E9746F75F}" sibTransId="{4F31D398-212B-4DFA-A884-74166FD63441}"/>
    <dgm:cxn modelId="{AE7F636F-61C2-4B3E-BF2C-4BDAFFC38661}" type="presOf" srcId="{AA928720-5979-48FA-8B59-6BC84CFC3C88}" destId="{9F9D7192-3F55-49A8-A9DE-01EDD96FCFD4}" srcOrd="1" destOrd="0" presId="urn:microsoft.com/office/officeart/2005/8/layout/process5"/>
    <dgm:cxn modelId="{A88C9451-236C-4F02-A966-8D80F965BD0A}" type="presOf" srcId="{3B73F755-B2C1-4E3D-A80F-9F7E009A35A4}" destId="{2DC51319-BDFD-4889-80A5-D123BA7121B8}" srcOrd="0" destOrd="0" presId="urn:microsoft.com/office/officeart/2005/8/layout/process5"/>
    <dgm:cxn modelId="{92DB0E73-B7A9-484A-ADEC-3D055312BB59}" type="presOf" srcId="{4F9A4A42-F68F-463D-8EB2-B40C4837B264}" destId="{21E89BD9-51D0-4BB0-810D-106D0E563DEA}" srcOrd="1" destOrd="0" presId="urn:microsoft.com/office/officeart/2005/8/layout/process5"/>
    <dgm:cxn modelId="{7BC7E476-8887-4B1D-BE11-B1D6B9194B28}" srcId="{C777DB5A-1EC4-4CFF-AB85-3B558D93224F}" destId="{3B73F755-B2C1-4E3D-A80F-9F7E009A35A4}" srcOrd="1" destOrd="0" parTransId="{AC5E75FC-525C-485B-A1F1-5A43E3354344}" sibTransId="{4F9A4A42-F68F-463D-8EB2-B40C4837B264}"/>
    <dgm:cxn modelId="{8D75FD58-E09A-40C6-BB56-E3418BE08D4D}" type="presOf" srcId="{AA928720-5979-48FA-8B59-6BC84CFC3C88}" destId="{66E4054F-647D-4318-A1AF-D9DD70E74389}" srcOrd="0" destOrd="0" presId="urn:microsoft.com/office/officeart/2005/8/layout/process5"/>
    <dgm:cxn modelId="{035B907C-92E6-432D-91E3-ECD5F485DA3C}" type="presOf" srcId="{D1988C18-494A-4F3A-ACDE-46B925B58774}" destId="{F766487E-02DF-418B-95CF-4C5392AEE3DE}" srcOrd="0" destOrd="0" presId="urn:microsoft.com/office/officeart/2005/8/layout/process5"/>
    <dgm:cxn modelId="{5E7CBD80-E2D2-44EE-B30A-F3D7C2C1B7C0}" type="presOf" srcId="{A4AAA935-27A4-49EC-9D4D-916D77A98079}" destId="{23706A47-7738-4F63-B1F6-1D6E7F576A3F}" srcOrd="0" destOrd="0" presId="urn:microsoft.com/office/officeart/2005/8/layout/process5"/>
    <dgm:cxn modelId="{7015CC80-6564-4F7E-98D6-72BB9AC3C6C2}" type="presOf" srcId="{13498A79-895B-4B20-88AC-201FFB577C3F}" destId="{3023F040-88BC-4492-B67A-CC1F782C3C0B}" srcOrd="0" destOrd="0" presId="urn:microsoft.com/office/officeart/2005/8/layout/process5"/>
    <dgm:cxn modelId="{0D475983-0622-49BB-B607-7F1F84B6DE4E}" type="presOf" srcId="{E184F427-93CE-4632-AE15-88218959C164}" destId="{47BB6AC3-B61D-444D-B543-F893EF65FD07}" srcOrd="1" destOrd="0" presId="urn:microsoft.com/office/officeart/2005/8/layout/process5"/>
    <dgm:cxn modelId="{42A31A87-5404-4327-917A-4EB5A800227A}" type="presOf" srcId="{34438F28-3C90-4E48-BE25-61C2BB1F7691}" destId="{08AC4E95-34A8-415F-986A-C27ED3730F0B}" srcOrd="0" destOrd="0" presId="urn:microsoft.com/office/officeart/2005/8/layout/process5"/>
    <dgm:cxn modelId="{3A836289-4DC2-46B8-83FA-5F28E96B8CAF}" type="presOf" srcId="{D1988C18-494A-4F3A-ACDE-46B925B58774}" destId="{CEF7CDB3-FD2B-4B79-BC05-488ABF756DE5}" srcOrd="1" destOrd="0" presId="urn:microsoft.com/office/officeart/2005/8/layout/process5"/>
    <dgm:cxn modelId="{85510A8B-55DF-4493-8607-75692C0316EE}" type="presOf" srcId="{B0797CBE-3057-415D-826A-7974711ED382}" destId="{C9B002AD-BF96-4BC3-A5D9-D3BFF2B8F4C0}" srcOrd="1" destOrd="0" presId="urn:microsoft.com/office/officeart/2005/8/layout/process5"/>
    <dgm:cxn modelId="{545DD68D-375D-47DB-A940-916AD9DA1853}" type="presOf" srcId="{5510D5C0-D0FF-4444-BDC6-35C069328EAE}" destId="{3C95707E-17EC-4D92-B14C-E80D47C130DD}" srcOrd="1" destOrd="0" presId="urn:microsoft.com/office/officeart/2005/8/layout/process5"/>
    <dgm:cxn modelId="{BDF98C8E-690D-44E0-B55B-9DC25A2B15F6}" type="presOf" srcId="{C777DB5A-1EC4-4CFF-AB85-3B558D93224F}" destId="{B257BFBC-2899-4F3B-97D8-7055DE49DD1E}" srcOrd="0" destOrd="0" presId="urn:microsoft.com/office/officeart/2005/8/layout/process5"/>
    <dgm:cxn modelId="{F1DEBB90-C42B-4EFC-BABD-8E851DB8519A}" type="presOf" srcId="{31788FD6-B45B-4376-85C5-EF6D5EEF8AB1}" destId="{EE2BFB6E-7DCE-4DB8-8F9A-55A189CBBDCE}" srcOrd="0" destOrd="0" presId="urn:microsoft.com/office/officeart/2005/8/layout/process5"/>
    <dgm:cxn modelId="{4F5AFE92-95A8-491A-B659-74EA4544D745}" srcId="{C777DB5A-1EC4-4CFF-AB85-3B558D93224F}" destId="{832A93AB-CD07-4CC2-8788-F94E7B5C791A}" srcOrd="6" destOrd="0" parTransId="{BE68D911-C435-4EE2-AACA-297DA7BA2E7D}" sibTransId="{E184F427-93CE-4632-AE15-88218959C164}"/>
    <dgm:cxn modelId="{54079697-B43E-4F72-A1E3-66AE778DAB98}" srcId="{C777DB5A-1EC4-4CFF-AB85-3B558D93224F}" destId="{AD676B98-9038-4FA6-8CE8-474BE64D553F}" srcOrd="13" destOrd="0" parTransId="{364B274C-20B8-4A63-AE43-8B561075103B}" sibTransId="{DE04F783-0DC7-465E-B2FE-8DE68345088E}"/>
    <dgm:cxn modelId="{8BCA2AA0-D869-4383-8A42-3C9E2E781A97}" srcId="{C777DB5A-1EC4-4CFF-AB85-3B558D93224F}" destId="{13498A79-895B-4B20-88AC-201FFB577C3F}" srcOrd="5" destOrd="0" parTransId="{2F703118-6636-4A88-BC06-6F1C39EB0343}" sibTransId="{EEE93B1D-F264-4094-920A-B6D74F7F595E}"/>
    <dgm:cxn modelId="{CB5224A4-38B8-4AF2-B465-D9FB56298ABC}" type="presOf" srcId="{EEE93B1D-F264-4094-920A-B6D74F7F595E}" destId="{490C53A2-60B4-4D4A-95C4-56ADE97D2D76}" srcOrd="1" destOrd="0" presId="urn:microsoft.com/office/officeart/2005/8/layout/process5"/>
    <dgm:cxn modelId="{8D404FB3-4D8D-446A-994B-67E41D243DDD}" srcId="{C777DB5A-1EC4-4CFF-AB85-3B558D93224F}" destId="{3F22CA0F-A5E8-4008-864F-389199263D17}" srcOrd="2" destOrd="0" parTransId="{E2552137-5724-45C2-B770-887E9A9EDEFC}" sibTransId="{B0797CBE-3057-415D-826A-7974711ED382}"/>
    <dgm:cxn modelId="{AA57E4C8-2DEE-4C89-85A6-B0F53BFA65E1}" type="presOf" srcId="{683EE7D2-FFC5-4E1B-95A2-8EA9BDD6C13F}" destId="{9EB04EE8-38CE-4CBB-A2DF-BEA972F50C3D}" srcOrd="1" destOrd="0" presId="urn:microsoft.com/office/officeart/2005/8/layout/process5"/>
    <dgm:cxn modelId="{213623C9-4593-4A2D-9D83-91B7A52BEAD7}" srcId="{C777DB5A-1EC4-4CFF-AB85-3B558D93224F}" destId="{34438F28-3C90-4E48-BE25-61C2BB1F7691}" srcOrd="9" destOrd="0" parTransId="{F5A2F2EF-99F9-4158-B720-515FF0AAA51C}" sibTransId="{6F7FADC8-2546-4D42-989C-F26CD80C66C0}"/>
    <dgm:cxn modelId="{994C9DCD-256B-41EB-8772-BD3FADD68918}" srcId="{C777DB5A-1EC4-4CFF-AB85-3B558D93224F}" destId="{E6D78C3C-29E6-45A4-AE34-3196A112882C}" srcOrd="7" destOrd="0" parTransId="{37032638-83DB-435A-9623-C158A4634ED4}" sibTransId="{03236456-CB0F-44A3-9E1F-4376F2FBC2C9}"/>
    <dgm:cxn modelId="{7C5613CF-2B77-499F-B45C-E631BCFD4329}" type="presOf" srcId="{66965638-C73C-449C-B52A-2EDF348AEE6A}" destId="{61991A2F-965D-4B0C-9B47-A6386A819F6F}" srcOrd="1" destOrd="0" presId="urn:microsoft.com/office/officeart/2005/8/layout/process5"/>
    <dgm:cxn modelId="{D345C5D1-87D4-4647-A74A-D762FC80C094}" type="presOf" srcId="{66965638-C73C-449C-B52A-2EDF348AEE6A}" destId="{444E853E-802B-4CDD-9A85-A4DDD96EF6F0}" srcOrd="0" destOrd="0" presId="urn:microsoft.com/office/officeart/2005/8/layout/process5"/>
    <dgm:cxn modelId="{FABD4FD4-C3CB-4B78-BCFB-78C6CAD88671}" srcId="{C777DB5A-1EC4-4CFF-AB85-3B558D93224F}" destId="{ACC97F2C-2AFD-41EC-818D-9522498687EF}" srcOrd="3" destOrd="0" parTransId="{6630F2D3-DB28-40D4-BBE5-AB6A501BEB7B}" sibTransId="{683EE7D2-FFC5-4E1B-95A2-8EA9BDD6C13F}"/>
    <dgm:cxn modelId="{E22F2CD8-0417-4329-8CDF-603B9F703E26}" srcId="{C777DB5A-1EC4-4CFF-AB85-3B558D93224F}" destId="{37DD3551-71B7-4DB3-94CD-8B12FB4857C1}" srcOrd="12" destOrd="0" parTransId="{D551CE78-CF5B-480C-8A17-5134357FCDA2}" sibTransId="{66965638-C73C-449C-B52A-2EDF348AEE6A}"/>
    <dgm:cxn modelId="{A7E1C4D9-9913-4950-A823-ECACB72E47D7}" type="presOf" srcId="{ACC97F2C-2AFD-41EC-818D-9522498687EF}" destId="{D54D6571-981E-42C1-8056-DB1BBD85473F}" srcOrd="0" destOrd="0" presId="urn:microsoft.com/office/officeart/2005/8/layout/process5"/>
    <dgm:cxn modelId="{82D4C5DA-3B5B-4B03-9C0C-6817251B00F6}" type="presOf" srcId="{B4B17B5E-74BE-401B-A8E2-B242B6228320}" destId="{D9B883A6-C51A-48F6-9FB3-7490AAAD2111}" srcOrd="1" destOrd="0" presId="urn:microsoft.com/office/officeart/2005/8/layout/process5"/>
    <dgm:cxn modelId="{26542DDB-59C7-469F-8912-F7A3CE38C3F5}" srcId="{C777DB5A-1EC4-4CFF-AB85-3B558D93224F}" destId="{A6740409-D6AF-46CE-838E-E03FCCDAE4B7}" srcOrd="11" destOrd="0" parTransId="{657085AE-55EE-4ED4-BD5E-AD37B2A32847}" sibTransId="{5510D5C0-D0FF-4444-BDC6-35C069328EAE}"/>
    <dgm:cxn modelId="{2D6D57DF-62CB-448C-991C-13DDF52DE6E6}" type="presOf" srcId="{E6D78C3C-29E6-45A4-AE34-3196A112882C}" destId="{A6832D38-5B9F-42B3-A7DA-4ACFD247FBE1}" srcOrd="0" destOrd="0" presId="urn:microsoft.com/office/officeart/2005/8/layout/process5"/>
    <dgm:cxn modelId="{DF1DB7EC-D110-4B31-B1D2-96B6797ABA8A}" type="presOf" srcId="{5510D5C0-D0FF-4444-BDC6-35C069328EAE}" destId="{BD73194B-12E3-4579-AB75-FAE1999BA4BD}" srcOrd="0" destOrd="0" presId="urn:microsoft.com/office/officeart/2005/8/layout/process5"/>
    <dgm:cxn modelId="{94B2C2EE-91B0-40F3-93C3-23A132680702}" type="presOf" srcId="{A6740409-D6AF-46CE-838E-E03FCCDAE4B7}" destId="{7919EF46-B699-4D60-8329-3207A6618490}" srcOrd="0" destOrd="0" presId="urn:microsoft.com/office/officeart/2005/8/layout/process5"/>
    <dgm:cxn modelId="{569883EF-685B-44F7-8713-76E4E6CC3D73}" type="presOf" srcId="{6F7FADC8-2546-4D42-989C-F26CD80C66C0}" destId="{BF0B8F25-0EE7-400B-B3DA-32FDC731AEB5}" srcOrd="0" destOrd="0" presId="urn:microsoft.com/office/officeart/2005/8/layout/process5"/>
    <dgm:cxn modelId="{5ED268F2-A7CE-46E2-B07C-B06D004A0BF8}" type="presOf" srcId="{536A1C5E-D42E-4FB9-89BE-03D0E74CBBC2}" destId="{98264AE5-5027-4FFC-9967-D0B8BE1349CC}" srcOrd="0" destOrd="0" presId="urn:microsoft.com/office/officeart/2005/8/layout/process5"/>
    <dgm:cxn modelId="{B5DBFFF2-AEB7-4139-9492-C8E9B0EDCCC5}" type="presOf" srcId="{832A93AB-CD07-4CC2-8788-F94E7B5C791A}" destId="{FE865C3A-A875-4168-890A-5A8FAE5E3FD2}" srcOrd="0" destOrd="0" presId="urn:microsoft.com/office/officeart/2005/8/layout/process5"/>
    <dgm:cxn modelId="{E8BFC242-9D6D-45DB-809E-15D3DC46974F}" type="presParOf" srcId="{B257BFBC-2899-4F3B-97D8-7055DE49DD1E}" destId="{23706A47-7738-4F63-B1F6-1D6E7F576A3F}" srcOrd="0" destOrd="0" presId="urn:microsoft.com/office/officeart/2005/8/layout/process5"/>
    <dgm:cxn modelId="{70E46200-3501-46F4-9E7A-EC69F6F6F9E8}" type="presParOf" srcId="{B257BFBC-2899-4F3B-97D8-7055DE49DD1E}" destId="{F766487E-02DF-418B-95CF-4C5392AEE3DE}" srcOrd="1" destOrd="0" presId="urn:microsoft.com/office/officeart/2005/8/layout/process5"/>
    <dgm:cxn modelId="{23D51509-DAF8-4483-8A4F-1AEC8B90D29B}" type="presParOf" srcId="{F766487E-02DF-418B-95CF-4C5392AEE3DE}" destId="{CEF7CDB3-FD2B-4B79-BC05-488ABF756DE5}" srcOrd="0" destOrd="0" presId="urn:microsoft.com/office/officeart/2005/8/layout/process5"/>
    <dgm:cxn modelId="{64A65E39-91EF-437C-8ED5-83CDBEB1EE09}" type="presParOf" srcId="{B257BFBC-2899-4F3B-97D8-7055DE49DD1E}" destId="{2DC51319-BDFD-4889-80A5-D123BA7121B8}" srcOrd="2" destOrd="0" presId="urn:microsoft.com/office/officeart/2005/8/layout/process5"/>
    <dgm:cxn modelId="{A0ABBF44-E873-47A9-BC6E-7F9FCB1EDFB8}" type="presParOf" srcId="{B257BFBC-2899-4F3B-97D8-7055DE49DD1E}" destId="{00D1DF38-6B13-47BE-8133-905CF4252855}" srcOrd="3" destOrd="0" presId="urn:microsoft.com/office/officeart/2005/8/layout/process5"/>
    <dgm:cxn modelId="{C1D8398E-49F2-4E02-9FBA-FB6D44649B6E}" type="presParOf" srcId="{00D1DF38-6B13-47BE-8133-905CF4252855}" destId="{21E89BD9-51D0-4BB0-810D-106D0E563DEA}" srcOrd="0" destOrd="0" presId="urn:microsoft.com/office/officeart/2005/8/layout/process5"/>
    <dgm:cxn modelId="{B17311AF-3A2C-4ED3-BDE6-114AFF9B7860}" type="presParOf" srcId="{B257BFBC-2899-4F3B-97D8-7055DE49DD1E}" destId="{596A2F3D-0456-42D6-A883-6A7C2CBE1C93}" srcOrd="4" destOrd="0" presId="urn:microsoft.com/office/officeart/2005/8/layout/process5"/>
    <dgm:cxn modelId="{C57F2F9A-B685-4E38-B8BB-A10F442D4C21}" type="presParOf" srcId="{B257BFBC-2899-4F3B-97D8-7055DE49DD1E}" destId="{2DEA88BF-478E-475C-B0C1-AFE44308E5BA}" srcOrd="5" destOrd="0" presId="urn:microsoft.com/office/officeart/2005/8/layout/process5"/>
    <dgm:cxn modelId="{159F27AD-CEAF-4361-AA41-3AC8D2F31568}" type="presParOf" srcId="{2DEA88BF-478E-475C-B0C1-AFE44308E5BA}" destId="{C9B002AD-BF96-4BC3-A5D9-D3BFF2B8F4C0}" srcOrd="0" destOrd="0" presId="urn:microsoft.com/office/officeart/2005/8/layout/process5"/>
    <dgm:cxn modelId="{0A0852A7-6649-4FBC-9F69-AEE5E540DA5B}" type="presParOf" srcId="{B257BFBC-2899-4F3B-97D8-7055DE49DD1E}" destId="{D54D6571-981E-42C1-8056-DB1BBD85473F}" srcOrd="6" destOrd="0" presId="urn:microsoft.com/office/officeart/2005/8/layout/process5"/>
    <dgm:cxn modelId="{3028F861-ACF1-482A-9DFD-D87CB9F7E44A}" type="presParOf" srcId="{B257BFBC-2899-4F3B-97D8-7055DE49DD1E}" destId="{55EFF863-8201-4592-8EEB-97BA71188AAE}" srcOrd="7" destOrd="0" presId="urn:microsoft.com/office/officeart/2005/8/layout/process5"/>
    <dgm:cxn modelId="{D5CFF255-CF02-466B-B6A0-46857418A438}" type="presParOf" srcId="{55EFF863-8201-4592-8EEB-97BA71188AAE}" destId="{9EB04EE8-38CE-4CBB-A2DF-BEA972F50C3D}" srcOrd="0" destOrd="0" presId="urn:microsoft.com/office/officeart/2005/8/layout/process5"/>
    <dgm:cxn modelId="{E9C2AEEA-4F0B-4411-8EBC-99C42584966F}" type="presParOf" srcId="{B257BFBC-2899-4F3B-97D8-7055DE49DD1E}" destId="{98264AE5-5027-4FFC-9967-D0B8BE1349CC}" srcOrd="8" destOrd="0" presId="urn:microsoft.com/office/officeart/2005/8/layout/process5"/>
    <dgm:cxn modelId="{02E9C14E-50A7-44AA-B7D6-57BA1C36CB9A}" type="presParOf" srcId="{B257BFBC-2899-4F3B-97D8-7055DE49DD1E}" destId="{6C35D967-7B72-49AD-A49C-4AC304864AC5}" srcOrd="9" destOrd="0" presId="urn:microsoft.com/office/officeart/2005/8/layout/process5"/>
    <dgm:cxn modelId="{F461D3CB-B8BC-4037-ADD2-A9C6DE63A49B}" type="presParOf" srcId="{6C35D967-7B72-49AD-A49C-4AC304864AC5}" destId="{D9B883A6-C51A-48F6-9FB3-7490AAAD2111}" srcOrd="0" destOrd="0" presId="urn:microsoft.com/office/officeart/2005/8/layout/process5"/>
    <dgm:cxn modelId="{E2273BEC-8C1C-4A18-8452-333DB6FC6933}" type="presParOf" srcId="{B257BFBC-2899-4F3B-97D8-7055DE49DD1E}" destId="{3023F040-88BC-4492-B67A-CC1F782C3C0B}" srcOrd="10" destOrd="0" presId="urn:microsoft.com/office/officeart/2005/8/layout/process5"/>
    <dgm:cxn modelId="{86C6CDD3-4E38-4E9B-90B3-22DCC3FBE5FA}" type="presParOf" srcId="{B257BFBC-2899-4F3B-97D8-7055DE49DD1E}" destId="{E11E27C0-3084-49CE-8050-E7876895B0AE}" srcOrd="11" destOrd="0" presId="urn:microsoft.com/office/officeart/2005/8/layout/process5"/>
    <dgm:cxn modelId="{DA7F96E6-38CF-4503-A37C-31D5E1495433}" type="presParOf" srcId="{E11E27C0-3084-49CE-8050-E7876895B0AE}" destId="{490C53A2-60B4-4D4A-95C4-56ADE97D2D76}" srcOrd="0" destOrd="0" presId="urn:microsoft.com/office/officeart/2005/8/layout/process5"/>
    <dgm:cxn modelId="{BD980130-4733-4707-955E-54850E01E25F}" type="presParOf" srcId="{B257BFBC-2899-4F3B-97D8-7055DE49DD1E}" destId="{FE865C3A-A875-4168-890A-5A8FAE5E3FD2}" srcOrd="12" destOrd="0" presId="urn:microsoft.com/office/officeart/2005/8/layout/process5"/>
    <dgm:cxn modelId="{7F13DC3A-26F6-4613-BF76-6CBFCA229AA3}" type="presParOf" srcId="{B257BFBC-2899-4F3B-97D8-7055DE49DD1E}" destId="{FB73616F-E31E-4062-A98E-97D3067FF60D}" srcOrd="13" destOrd="0" presId="urn:microsoft.com/office/officeart/2005/8/layout/process5"/>
    <dgm:cxn modelId="{04C27D94-6E32-4890-93E4-88F05CFD22AD}" type="presParOf" srcId="{FB73616F-E31E-4062-A98E-97D3067FF60D}" destId="{47BB6AC3-B61D-444D-B543-F893EF65FD07}" srcOrd="0" destOrd="0" presId="urn:microsoft.com/office/officeart/2005/8/layout/process5"/>
    <dgm:cxn modelId="{4237A281-52D3-41D3-A57B-A5E0A6718FC4}" type="presParOf" srcId="{B257BFBC-2899-4F3B-97D8-7055DE49DD1E}" destId="{A6832D38-5B9F-42B3-A7DA-4ACFD247FBE1}" srcOrd="14" destOrd="0" presId="urn:microsoft.com/office/officeart/2005/8/layout/process5"/>
    <dgm:cxn modelId="{520DE5FF-9C5E-4F64-80F7-132F29DC20AC}" type="presParOf" srcId="{B257BFBC-2899-4F3B-97D8-7055DE49DD1E}" destId="{EB68B4F5-922C-4019-B870-B6EC76B4FF8E}" srcOrd="15" destOrd="0" presId="urn:microsoft.com/office/officeart/2005/8/layout/process5"/>
    <dgm:cxn modelId="{0FB5F030-FDA0-43AE-92DB-3F88FF0C6CEC}" type="presParOf" srcId="{EB68B4F5-922C-4019-B870-B6EC76B4FF8E}" destId="{DB5B0FE1-372A-4FC1-B989-511C1DA3D96E}" srcOrd="0" destOrd="0" presId="urn:microsoft.com/office/officeart/2005/8/layout/process5"/>
    <dgm:cxn modelId="{C1762CC0-ED2E-4EB9-8AE6-55DCE6C5A50F}" type="presParOf" srcId="{B257BFBC-2899-4F3B-97D8-7055DE49DD1E}" destId="{EF313EF8-8788-4B45-B0B1-73EEB08126F3}" srcOrd="16" destOrd="0" presId="urn:microsoft.com/office/officeart/2005/8/layout/process5"/>
    <dgm:cxn modelId="{FF877E1F-EB0E-4770-BEE5-8F0F665B7EF9}" type="presParOf" srcId="{B257BFBC-2899-4F3B-97D8-7055DE49DD1E}" destId="{91BD7DE4-75B3-43FB-BE95-C60F8EFE0E37}" srcOrd="17" destOrd="0" presId="urn:microsoft.com/office/officeart/2005/8/layout/process5"/>
    <dgm:cxn modelId="{64F6676C-C671-4E48-ADBD-71CA4C50E0D4}" type="presParOf" srcId="{91BD7DE4-75B3-43FB-BE95-C60F8EFE0E37}" destId="{F9F768AA-9CE0-4061-A271-CEB84E05F4E8}" srcOrd="0" destOrd="0" presId="urn:microsoft.com/office/officeart/2005/8/layout/process5"/>
    <dgm:cxn modelId="{214202FB-CD0A-4921-833F-BD9A7AC6726C}" type="presParOf" srcId="{B257BFBC-2899-4F3B-97D8-7055DE49DD1E}" destId="{08AC4E95-34A8-415F-986A-C27ED3730F0B}" srcOrd="18" destOrd="0" presId="urn:microsoft.com/office/officeart/2005/8/layout/process5"/>
    <dgm:cxn modelId="{32EFE623-D842-4577-8938-367BA80733BD}" type="presParOf" srcId="{B257BFBC-2899-4F3B-97D8-7055DE49DD1E}" destId="{BF0B8F25-0EE7-400B-B3DA-32FDC731AEB5}" srcOrd="19" destOrd="0" presId="urn:microsoft.com/office/officeart/2005/8/layout/process5"/>
    <dgm:cxn modelId="{5DBE1E71-B2A1-45DB-9344-B6D6811CCF34}" type="presParOf" srcId="{BF0B8F25-0EE7-400B-B3DA-32FDC731AEB5}" destId="{E08D4E8E-70DF-49B7-8F26-342A64478536}" srcOrd="0" destOrd="0" presId="urn:microsoft.com/office/officeart/2005/8/layout/process5"/>
    <dgm:cxn modelId="{E7DC8574-8141-43F1-87D2-D145E1616A02}" type="presParOf" srcId="{B257BFBC-2899-4F3B-97D8-7055DE49DD1E}" destId="{76D10E73-663C-4FDC-94FC-6896BD1EF914}" srcOrd="20" destOrd="0" presId="urn:microsoft.com/office/officeart/2005/8/layout/process5"/>
    <dgm:cxn modelId="{920BFFDE-0DD4-41AC-9ED1-1F62DA0BE543}" type="presParOf" srcId="{B257BFBC-2899-4F3B-97D8-7055DE49DD1E}" destId="{66E4054F-647D-4318-A1AF-D9DD70E74389}" srcOrd="21" destOrd="0" presId="urn:microsoft.com/office/officeart/2005/8/layout/process5"/>
    <dgm:cxn modelId="{1BA2BBD5-C4A4-420E-90FD-4FC783D42C5B}" type="presParOf" srcId="{66E4054F-647D-4318-A1AF-D9DD70E74389}" destId="{9F9D7192-3F55-49A8-A9DE-01EDD96FCFD4}" srcOrd="0" destOrd="0" presId="urn:microsoft.com/office/officeart/2005/8/layout/process5"/>
    <dgm:cxn modelId="{40F89C34-38FF-444D-A279-5275D0914F55}" type="presParOf" srcId="{B257BFBC-2899-4F3B-97D8-7055DE49DD1E}" destId="{7919EF46-B699-4D60-8329-3207A6618490}" srcOrd="22" destOrd="0" presId="urn:microsoft.com/office/officeart/2005/8/layout/process5"/>
    <dgm:cxn modelId="{B07209D5-F99B-4030-B604-B62F5F02DB25}" type="presParOf" srcId="{B257BFBC-2899-4F3B-97D8-7055DE49DD1E}" destId="{BD73194B-12E3-4579-AB75-FAE1999BA4BD}" srcOrd="23" destOrd="0" presId="urn:microsoft.com/office/officeart/2005/8/layout/process5"/>
    <dgm:cxn modelId="{307FB34D-BDF1-441D-AF6E-5F46056544BD}" type="presParOf" srcId="{BD73194B-12E3-4579-AB75-FAE1999BA4BD}" destId="{3C95707E-17EC-4D92-B14C-E80D47C130DD}" srcOrd="0" destOrd="0" presId="urn:microsoft.com/office/officeart/2005/8/layout/process5"/>
    <dgm:cxn modelId="{0DEC4E45-B51E-47F4-B4BF-1EB2A703370C}" type="presParOf" srcId="{B257BFBC-2899-4F3B-97D8-7055DE49DD1E}" destId="{30269E0D-C268-4E98-BDE5-AC7B56062017}" srcOrd="24" destOrd="0" presId="urn:microsoft.com/office/officeart/2005/8/layout/process5"/>
    <dgm:cxn modelId="{811A5DDE-9D79-4292-989F-BFCBBC15BE0F}" type="presParOf" srcId="{B257BFBC-2899-4F3B-97D8-7055DE49DD1E}" destId="{444E853E-802B-4CDD-9A85-A4DDD96EF6F0}" srcOrd="25" destOrd="0" presId="urn:microsoft.com/office/officeart/2005/8/layout/process5"/>
    <dgm:cxn modelId="{EFC9494A-69BD-4E13-ADFA-6B1EC4D5F9BA}" type="presParOf" srcId="{444E853E-802B-4CDD-9A85-A4DDD96EF6F0}" destId="{61991A2F-965D-4B0C-9B47-A6386A819F6F}" srcOrd="0" destOrd="0" presId="urn:microsoft.com/office/officeart/2005/8/layout/process5"/>
    <dgm:cxn modelId="{68D024A1-E893-46F9-8795-194B7CB7D2F2}" type="presParOf" srcId="{B257BFBC-2899-4F3B-97D8-7055DE49DD1E}" destId="{666C6A27-48B9-4BBF-BF66-EB4034E97E5A}" srcOrd="26" destOrd="0" presId="urn:microsoft.com/office/officeart/2005/8/layout/process5"/>
    <dgm:cxn modelId="{0417CAE5-48C9-4FD9-B55F-2BD6285F884B}" type="presParOf" srcId="{B257BFBC-2899-4F3B-97D8-7055DE49DD1E}" destId="{CC669B43-F675-4328-8E49-5DF8A58EBF06}" srcOrd="27" destOrd="0" presId="urn:microsoft.com/office/officeart/2005/8/layout/process5"/>
    <dgm:cxn modelId="{0928F037-E2DF-40BB-98F8-C1202DE9CD0A}" type="presParOf" srcId="{CC669B43-F675-4328-8E49-5DF8A58EBF06}" destId="{C4C805C1-2F37-4B6C-812F-A8A7327CBBA1}" srcOrd="0" destOrd="0" presId="urn:microsoft.com/office/officeart/2005/8/layout/process5"/>
    <dgm:cxn modelId="{0197AAE1-4244-4FF9-B0BD-CCCC27FE33FA}" type="presParOf" srcId="{B257BFBC-2899-4F3B-97D8-7055DE49DD1E}" destId="{EE2BFB6E-7DCE-4DB8-8F9A-55A189CBBDCE}" srcOrd="28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706A47-7738-4F63-B1F6-1D6E7F576A3F}">
      <dsp:nvSpPr>
        <dsp:cNvPr id="0" name=""/>
        <dsp:cNvSpPr/>
      </dsp:nvSpPr>
      <dsp:spPr>
        <a:xfrm>
          <a:off x="429031" y="560921"/>
          <a:ext cx="1598376" cy="959026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 dirty="0"/>
            <a:t>Problem Statement</a:t>
          </a:r>
        </a:p>
      </dsp:txBody>
      <dsp:txXfrm>
        <a:off x="457120" y="589010"/>
        <a:ext cx="1542198" cy="902848"/>
      </dsp:txXfrm>
    </dsp:sp>
    <dsp:sp modelId="{F766487E-02DF-418B-95CF-4C5392AEE3DE}">
      <dsp:nvSpPr>
        <dsp:cNvPr id="0" name=""/>
        <dsp:cNvSpPr/>
      </dsp:nvSpPr>
      <dsp:spPr>
        <a:xfrm>
          <a:off x="2168065" y="842235"/>
          <a:ext cx="338855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800" kern="1200"/>
        </a:p>
      </dsp:txBody>
      <dsp:txXfrm>
        <a:off x="2168065" y="921514"/>
        <a:ext cx="237199" cy="237839"/>
      </dsp:txXfrm>
    </dsp:sp>
    <dsp:sp modelId="{2DC51319-BDFD-4889-80A5-D123BA7121B8}">
      <dsp:nvSpPr>
        <dsp:cNvPr id="0" name=""/>
        <dsp:cNvSpPr/>
      </dsp:nvSpPr>
      <dsp:spPr>
        <a:xfrm>
          <a:off x="2666758" y="560921"/>
          <a:ext cx="1598376" cy="959026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 dirty="0"/>
            <a:t>Challenges involved</a:t>
          </a:r>
        </a:p>
      </dsp:txBody>
      <dsp:txXfrm>
        <a:off x="2694847" y="589010"/>
        <a:ext cx="1542198" cy="902848"/>
      </dsp:txXfrm>
    </dsp:sp>
    <dsp:sp modelId="{00D1DF38-6B13-47BE-8133-905CF4252855}">
      <dsp:nvSpPr>
        <dsp:cNvPr id="0" name=""/>
        <dsp:cNvSpPr/>
      </dsp:nvSpPr>
      <dsp:spPr>
        <a:xfrm>
          <a:off x="4405792" y="842235"/>
          <a:ext cx="338855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800" kern="1200"/>
        </a:p>
      </dsp:txBody>
      <dsp:txXfrm>
        <a:off x="4405792" y="921514"/>
        <a:ext cx="237199" cy="237839"/>
      </dsp:txXfrm>
    </dsp:sp>
    <dsp:sp modelId="{596A2F3D-0456-42D6-A883-6A7C2CBE1C93}">
      <dsp:nvSpPr>
        <dsp:cNvPr id="0" name=""/>
        <dsp:cNvSpPr/>
      </dsp:nvSpPr>
      <dsp:spPr>
        <a:xfrm>
          <a:off x="4904486" y="560921"/>
          <a:ext cx="1598376" cy="959026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 dirty="0"/>
            <a:t>Brainstorm on Data required to solve the problem</a:t>
          </a:r>
        </a:p>
      </dsp:txBody>
      <dsp:txXfrm>
        <a:off x="4932575" y="589010"/>
        <a:ext cx="1542198" cy="902848"/>
      </dsp:txXfrm>
    </dsp:sp>
    <dsp:sp modelId="{2DEA88BF-478E-475C-B0C1-AFE44308E5BA}">
      <dsp:nvSpPr>
        <dsp:cNvPr id="0" name=""/>
        <dsp:cNvSpPr/>
      </dsp:nvSpPr>
      <dsp:spPr>
        <a:xfrm>
          <a:off x="6643520" y="842235"/>
          <a:ext cx="338855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800" kern="1200"/>
        </a:p>
      </dsp:txBody>
      <dsp:txXfrm>
        <a:off x="6643520" y="921514"/>
        <a:ext cx="237199" cy="237839"/>
      </dsp:txXfrm>
    </dsp:sp>
    <dsp:sp modelId="{D54D6571-981E-42C1-8056-DB1BBD85473F}">
      <dsp:nvSpPr>
        <dsp:cNvPr id="0" name=""/>
        <dsp:cNvSpPr/>
      </dsp:nvSpPr>
      <dsp:spPr>
        <a:xfrm>
          <a:off x="7142214" y="560921"/>
          <a:ext cx="1598376" cy="959026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Brainstorm on Collecting / Ingesting Data from Different Sources such as </a:t>
          </a:r>
          <a:r>
            <a:rPr lang="en-US" sz="1200" kern="1200" dirty="0" err="1"/>
            <a:t>DBMS,Sensors</a:t>
          </a:r>
          <a:r>
            <a:rPr lang="en-US" sz="1200" kern="1200" dirty="0"/>
            <a:t> </a:t>
          </a:r>
          <a:r>
            <a:rPr lang="en-US" sz="1200" kern="1200" dirty="0" err="1"/>
            <a:t>etc</a:t>
          </a:r>
          <a:endParaRPr lang="en-IN" sz="1200" kern="1200" dirty="0"/>
        </a:p>
      </dsp:txBody>
      <dsp:txXfrm>
        <a:off x="7170303" y="589010"/>
        <a:ext cx="1542198" cy="902848"/>
      </dsp:txXfrm>
    </dsp:sp>
    <dsp:sp modelId="{55EFF863-8201-4592-8EEB-97BA71188AAE}">
      <dsp:nvSpPr>
        <dsp:cNvPr id="0" name=""/>
        <dsp:cNvSpPr/>
      </dsp:nvSpPr>
      <dsp:spPr>
        <a:xfrm>
          <a:off x="8881248" y="842235"/>
          <a:ext cx="338855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800" kern="1200"/>
        </a:p>
      </dsp:txBody>
      <dsp:txXfrm>
        <a:off x="8881248" y="921514"/>
        <a:ext cx="237199" cy="237839"/>
      </dsp:txXfrm>
    </dsp:sp>
    <dsp:sp modelId="{98264AE5-5027-4FFC-9967-D0B8BE1349CC}">
      <dsp:nvSpPr>
        <dsp:cNvPr id="0" name=""/>
        <dsp:cNvSpPr/>
      </dsp:nvSpPr>
      <dsp:spPr>
        <a:xfrm>
          <a:off x="9379941" y="560921"/>
          <a:ext cx="1598376" cy="959026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Brainstorm on data format ( structured , semi structured , unstructured) file format (</a:t>
          </a:r>
          <a:r>
            <a:rPr lang="en-US" sz="1200" kern="1200" dirty="0" err="1"/>
            <a:t>xml,json</a:t>
          </a:r>
          <a:r>
            <a:rPr lang="en-US" sz="1200" kern="1200" dirty="0"/>
            <a:t> </a:t>
          </a:r>
          <a:r>
            <a:rPr lang="en-US" sz="1200" kern="1200" dirty="0" err="1"/>
            <a:t>etc</a:t>
          </a:r>
          <a:r>
            <a:rPr lang="en-US" sz="1200" kern="1200" dirty="0"/>
            <a:t> ..)</a:t>
          </a:r>
          <a:endParaRPr lang="en-IN" sz="1200" kern="1200" dirty="0"/>
        </a:p>
      </dsp:txBody>
      <dsp:txXfrm>
        <a:off x="9408030" y="589010"/>
        <a:ext cx="1542198" cy="902848"/>
      </dsp:txXfrm>
    </dsp:sp>
    <dsp:sp modelId="{6C35D967-7B72-49AD-A49C-4AC304864AC5}">
      <dsp:nvSpPr>
        <dsp:cNvPr id="0" name=""/>
        <dsp:cNvSpPr/>
      </dsp:nvSpPr>
      <dsp:spPr>
        <a:xfrm rot="5400000">
          <a:off x="9985578" y="1675983"/>
          <a:ext cx="387102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2000" kern="1200"/>
        </a:p>
      </dsp:txBody>
      <dsp:txXfrm rot="-5400000">
        <a:off x="10060210" y="1680631"/>
        <a:ext cx="237839" cy="270971"/>
      </dsp:txXfrm>
    </dsp:sp>
    <dsp:sp modelId="{3023F040-88BC-4492-B67A-CC1F782C3C0B}">
      <dsp:nvSpPr>
        <dsp:cNvPr id="0" name=""/>
        <dsp:cNvSpPr/>
      </dsp:nvSpPr>
      <dsp:spPr>
        <a:xfrm>
          <a:off x="9379941" y="2250328"/>
          <a:ext cx="1598376" cy="959026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Brainstorm about raw data storage (destinations such as data lakes) </a:t>
          </a:r>
          <a:r>
            <a:rPr lang="en-IN" sz="1200" b="0" i="0" kern="1200" dirty="0"/>
            <a:t>bronze layer</a:t>
          </a:r>
          <a:endParaRPr lang="en-IN" sz="1200" kern="1200" dirty="0"/>
        </a:p>
      </dsp:txBody>
      <dsp:txXfrm>
        <a:off x="9408030" y="2278417"/>
        <a:ext cx="1542198" cy="902848"/>
      </dsp:txXfrm>
    </dsp:sp>
    <dsp:sp modelId="{E11E27C0-3084-49CE-8050-E7876895B0AE}">
      <dsp:nvSpPr>
        <dsp:cNvPr id="0" name=""/>
        <dsp:cNvSpPr/>
      </dsp:nvSpPr>
      <dsp:spPr>
        <a:xfrm rot="10800000">
          <a:off x="8900428" y="2531643"/>
          <a:ext cx="338855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800" kern="1200"/>
        </a:p>
      </dsp:txBody>
      <dsp:txXfrm rot="10800000">
        <a:off x="9002084" y="2610922"/>
        <a:ext cx="237199" cy="237839"/>
      </dsp:txXfrm>
    </dsp:sp>
    <dsp:sp modelId="{FE865C3A-A875-4168-890A-5A8FAE5E3FD2}">
      <dsp:nvSpPr>
        <dsp:cNvPr id="0" name=""/>
        <dsp:cNvSpPr/>
      </dsp:nvSpPr>
      <dsp:spPr>
        <a:xfrm>
          <a:off x="6714472" y="2159298"/>
          <a:ext cx="2026118" cy="1141087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Brainstorm about different transformations such as </a:t>
          </a:r>
          <a:r>
            <a:rPr lang="en-IN" sz="1200" b="1" i="0" kern="1200" dirty="0"/>
            <a:t>standardization</a:t>
          </a:r>
          <a:r>
            <a:rPr lang="en-IN" sz="1200" b="0" i="0" kern="1200" dirty="0"/>
            <a:t>, </a:t>
          </a:r>
          <a:r>
            <a:rPr lang="en-IN" sz="1200" b="1" i="0" kern="1200" dirty="0"/>
            <a:t>declassification</a:t>
          </a:r>
          <a:r>
            <a:rPr lang="en-IN" sz="1200" b="0" i="0" kern="1200" dirty="0"/>
            <a:t>, </a:t>
          </a:r>
          <a:r>
            <a:rPr lang="en-IN" sz="1200" b="1" i="0" kern="1200" dirty="0" err="1"/>
            <a:t>deduplication,aggregation</a:t>
          </a:r>
          <a:endParaRPr lang="en-IN" sz="1200" kern="1200" dirty="0"/>
        </a:p>
      </dsp:txBody>
      <dsp:txXfrm>
        <a:off x="6747893" y="2192719"/>
        <a:ext cx="1959276" cy="1074245"/>
      </dsp:txXfrm>
    </dsp:sp>
    <dsp:sp modelId="{FB73616F-E31E-4062-A98E-97D3067FF60D}">
      <dsp:nvSpPr>
        <dsp:cNvPr id="0" name=""/>
        <dsp:cNvSpPr/>
      </dsp:nvSpPr>
      <dsp:spPr>
        <a:xfrm rot="10800000">
          <a:off x="6234959" y="2531643"/>
          <a:ext cx="338855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800" kern="1200"/>
        </a:p>
      </dsp:txBody>
      <dsp:txXfrm rot="10800000">
        <a:off x="6336615" y="2610922"/>
        <a:ext cx="237199" cy="237839"/>
      </dsp:txXfrm>
    </dsp:sp>
    <dsp:sp modelId="{A6832D38-5B9F-42B3-A7DA-4ACFD247FBE1}">
      <dsp:nvSpPr>
        <dsp:cNvPr id="0" name=""/>
        <dsp:cNvSpPr/>
      </dsp:nvSpPr>
      <dsp:spPr>
        <a:xfrm>
          <a:off x="4476744" y="2250328"/>
          <a:ext cx="1598376" cy="959026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 dirty="0"/>
            <a:t>Manipulate and Summarize the data for Analysis (Pandas Operations) </a:t>
          </a:r>
        </a:p>
      </dsp:txBody>
      <dsp:txXfrm>
        <a:off x="4504833" y="2278417"/>
        <a:ext cx="1542198" cy="902848"/>
      </dsp:txXfrm>
    </dsp:sp>
    <dsp:sp modelId="{EB68B4F5-922C-4019-B870-B6EC76B4FF8E}">
      <dsp:nvSpPr>
        <dsp:cNvPr id="0" name=""/>
        <dsp:cNvSpPr/>
      </dsp:nvSpPr>
      <dsp:spPr>
        <a:xfrm rot="10800000">
          <a:off x="3997231" y="2531643"/>
          <a:ext cx="338855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800" kern="1200"/>
        </a:p>
      </dsp:txBody>
      <dsp:txXfrm rot="10800000">
        <a:off x="4098887" y="2610922"/>
        <a:ext cx="237199" cy="237839"/>
      </dsp:txXfrm>
    </dsp:sp>
    <dsp:sp modelId="{EF313EF8-8788-4B45-B0B1-73EEB08126F3}">
      <dsp:nvSpPr>
        <dsp:cNvPr id="0" name=""/>
        <dsp:cNvSpPr/>
      </dsp:nvSpPr>
      <dsp:spPr>
        <a:xfrm>
          <a:off x="2239017" y="2250328"/>
          <a:ext cx="1598376" cy="959026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 dirty="0"/>
            <a:t>Whether all the data is relevant for a given problem? (Feature Engineering)</a:t>
          </a:r>
        </a:p>
      </dsp:txBody>
      <dsp:txXfrm>
        <a:off x="2267106" y="2278417"/>
        <a:ext cx="1542198" cy="902848"/>
      </dsp:txXfrm>
    </dsp:sp>
    <dsp:sp modelId="{91BD7DE4-75B3-43FB-BE95-C60F8EFE0E37}">
      <dsp:nvSpPr>
        <dsp:cNvPr id="0" name=""/>
        <dsp:cNvSpPr/>
      </dsp:nvSpPr>
      <dsp:spPr>
        <a:xfrm rot="10800000">
          <a:off x="1759504" y="2531643"/>
          <a:ext cx="338855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800" kern="1200"/>
        </a:p>
      </dsp:txBody>
      <dsp:txXfrm rot="10800000">
        <a:off x="1861160" y="2610922"/>
        <a:ext cx="237199" cy="237839"/>
      </dsp:txXfrm>
    </dsp:sp>
    <dsp:sp modelId="{08AC4E95-34A8-415F-986A-C27ED3730F0B}">
      <dsp:nvSpPr>
        <dsp:cNvPr id="0" name=""/>
        <dsp:cNvSpPr/>
      </dsp:nvSpPr>
      <dsp:spPr>
        <a:xfrm>
          <a:off x="1289" y="2250328"/>
          <a:ext cx="1598376" cy="959026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i="0" kern="1200" dirty="0"/>
            <a:t>Do we have all the required data? (Missing value imputation)</a:t>
          </a:r>
        </a:p>
      </dsp:txBody>
      <dsp:txXfrm>
        <a:off x="29378" y="2278417"/>
        <a:ext cx="1542198" cy="902848"/>
      </dsp:txXfrm>
    </dsp:sp>
    <dsp:sp modelId="{BF0B8F25-0EE7-400B-B3DA-32FDC731AEB5}">
      <dsp:nvSpPr>
        <dsp:cNvPr id="0" name=""/>
        <dsp:cNvSpPr/>
      </dsp:nvSpPr>
      <dsp:spPr>
        <a:xfrm rot="5400000">
          <a:off x="592617" y="3391580"/>
          <a:ext cx="415721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2200" kern="1200"/>
        </a:p>
      </dsp:txBody>
      <dsp:txXfrm rot="-5400000">
        <a:off x="681558" y="3381919"/>
        <a:ext cx="237839" cy="296802"/>
      </dsp:txXfrm>
    </dsp:sp>
    <dsp:sp modelId="{76D10E73-663C-4FDC-94FC-6896BD1EF914}">
      <dsp:nvSpPr>
        <dsp:cNvPr id="0" name=""/>
        <dsp:cNvSpPr/>
      </dsp:nvSpPr>
      <dsp:spPr>
        <a:xfrm>
          <a:off x="1289" y="3993734"/>
          <a:ext cx="1598376" cy="959026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kern="1200" dirty="0"/>
            <a:t>Is data in standard format? (Data Normalization and Encoding)</a:t>
          </a:r>
        </a:p>
      </dsp:txBody>
      <dsp:txXfrm>
        <a:off x="29378" y="4021823"/>
        <a:ext cx="1542198" cy="902848"/>
      </dsp:txXfrm>
    </dsp:sp>
    <dsp:sp modelId="{66E4054F-647D-4318-A1AF-D9DD70E74389}">
      <dsp:nvSpPr>
        <dsp:cNvPr id="0" name=""/>
        <dsp:cNvSpPr/>
      </dsp:nvSpPr>
      <dsp:spPr>
        <a:xfrm>
          <a:off x="1740323" y="4275048"/>
          <a:ext cx="338855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800" kern="1200"/>
        </a:p>
      </dsp:txBody>
      <dsp:txXfrm>
        <a:off x="1740323" y="4354327"/>
        <a:ext cx="237199" cy="237839"/>
      </dsp:txXfrm>
    </dsp:sp>
    <dsp:sp modelId="{7919EF46-B699-4D60-8329-3207A6618490}">
      <dsp:nvSpPr>
        <dsp:cNvPr id="0" name=""/>
        <dsp:cNvSpPr/>
      </dsp:nvSpPr>
      <dsp:spPr>
        <a:xfrm>
          <a:off x="2239017" y="3955694"/>
          <a:ext cx="1808131" cy="1035105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i="0" kern="1200" dirty="0"/>
            <a:t>Brainstorm about Storing the curated Data after applying transformations from previous steps </a:t>
          </a:r>
          <a:r>
            <a:rPr lang="en-IN" sz="1200" b="1" i="0" kern="1200" dirty="0"/>
            <a:t>The Silver Layer</a:t>
          </a:r>
          <a:endParaRPr lang="en-US" sz="1200" i="0" kern="1200" dirty="0"/>
        </a:p>
      </dsp:txBody>
      <dsp:txXfrm>
        <a:off x="2269334" y="3986011"/>
        <a:ext cx="1747497" cy="974471"/>
      </dsp:txXfrm>
    </dsp:sp>
    <dsp:sp modelId="{BD73194B-12E3-4579-AB75-FAE1999BA4BD}">
      <dsp:nvSpPr>
        <dsp:cNvPr id="0" name=""/>
        <dsp:cNvSpPr/>
      </dsp:nvSpPr>
      <dsp:spPr>
        <a:xfrm>
          <a:off x="4187806" y="4275048"/>
          <a:ext cx="338855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800" kern="1200"/>
        </a:p>
      </dsp:txBody>
      <dsp:txXfrm>
        <a:off x="4187806" y="4354327"/>
        <a:ext cx="237199" cy="237839"/>
      </dsp:txXfrm>
    </dsp:sp>
    <dsp:sp modelId="{30269E0D-C268-4E98-BDE5-AC7B56062017}">
      <dsp:nvSpPr>
        <dsp:cNvPr id="0" name=""/>
        <dsp:cNvSpPr/>
      </dsp:nvSpPr>
      <dsp:spPr>
        <a:xfrm>
          <a:off x="4686499" y="3993734"/>
          <a:ext cx="1598376" cy="959026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Is data aggregated </a:t>
          </a:r>
          <a:r>
            <a:rPr lang="en-US" sz="1200" b="0" i="0" kern="1200" dirty="0"/>
            <a:t>to aim for a near-real-time analytics platform</a:t>
          </a:r>
          <a:endParaRPr lang="en-IN" sz="1200" kern="1200" dirty="0"/>
        </a:p>
      </dsp:txBody>
      <dsp:txXfrm>
        <a:off x="4714588" y="4021823"/>
        <a:ext cx="1542198" cy="902848"/>
      </dsp:txXfrm>
    </dsp:sp>
    <dsp:sp modelId="{444E853E-802B-4CDD-9A85-A4DDD96EF6F0}">
      <dsp:nvSpPr>
        <dsp:cNvPr id="0" name=""/>
        <dsp:cNvSpPr/>
      </dsp:nvSpPr>
      <dsp:spPr>
        <a:xfrm>
          <a:off x="6425533" y="4275048"/>
          <a:ext cx="338855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800" kern="1200"/>
        </a:p>
      </dsp:txBody>
      <dsp:txXfrm>
        <a:off x="6425533" y="4354327"/>
        <a:ext cx="237199" cy="237839"/>
      </dsp:txXfrm>
    </dsp:sp>
    <dsp:sp modelId="{666C6A27-48B9-4BBF-BF66-EB4034E97E5A}">
      <dsp:nvSpPr>
        <dsp:cNvPr id="0" name=""/>
        <dsp:cNvSpPr/>
      </dsp:nvSpPr>
      <dsp:spPr>
        <a:xfrm>
          <a:off x="6924227" y="3993734"/>
          <a:ext cx="1598376" cy="959026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Is data aggregated </a:t>
          </a:r>
          <a:r>
            <a:rPr lang="en-US" sz="1200" b="0" i="0" kern="1200" dirty="0"/>
            <a:t>to aim for a batch analytics platform</a:t>
          </a:r>
          <a:endParaRPr lang="en-IN" sz="1200" kern="1200" dirty="0"/>
        </a:p>
      </dsp:txBody>
      <dsp:txXfrm>
        <a:off x="6952316" y="4021823"/>
        <a:ext cx="1542198" cy="902848"/>
      </dsp:txXfrm>
    </dsp:sp>
    <dsp:sp modelId="{CC669B43-F675-4328-8E49-5DF8A58EBF06}">
      <dsp:nvSpPr>
        <dsp:cNvPr id="0" name=""/>
        <dsp:cNvSpPr/>
      </dsp:nvSpPr>
      <dsp:spPr>
        <a:xfrm>
          <a:off x="8663261" y="4275048"/>
          <a:ext cx="338855" cy="396397"/>
        </a:xfrm>
        <a:prstGeom prst="rightArrow">
          <a:avLst>
            <a:gd name="adj1" fmla="val 60000"/>
            <a:gd name="adj2" fmla="val 50000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800" kern="1200"/>
        </a:p>
      </dsp:txBody>
      <dsp:txXfrm>
        <a:off x="8663261" y="4354327"/>
        <a:ext cx="237199" cy="237839"/>
      </dsp:txXfrm>
    </dsp:sp>
    <dsp:sp modelId="{EE2BFB6E-7DCE-4DB8-8F9A-55A189CBBDCE}">
      <dsp:nvSpPr>
        <dsp:cNvPr id="0" name=""/>
        <dsp:cNvSpPr/>
      </dsp:nvSpPr>
      <dsp:spPr>
        <a:xfrm>
          <a:off x="9161954" y="3939736"/>
          <a:ext cx="1840035" cy="1067022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Brainstorm about Storing the aggregated Data after applying aggregations from previous steps The Gold Layer</a:t>
          </a:r>
          <a:endParaRPr lang="en-IN" sz="1200" kern="1200" dirty="0"/>
        </a:p>
      </dsp:txBody>
      <dsp:txXfrm>
        <a:off x="9193206" y="3970988"/>
        <a:ext cx="1777531" cy="10045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7/5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5/07/2022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44375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-2" y="0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  <p:sldLayoutId id="2147483667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615" y="3301761"/>
            <a:ext cx="10525125" cy="701731"/>
          </a:xfrm>
        </p:spPr>
        <p:txBody>
          <a:bodyPr anchor="b">
            <a:spAutoFit/>
          </a:bodyPr>
          <a:lstStyle/>
          <a:p>
            <a:r>
              <a:rPr lang="en-US" dirty="0"/>
              <a:t>Role Based Training</a:t>
            </a:r>
            <a:r>
              <a:rPr lang="en-US" dirty="0">
                <a:solidFill>
                  <a:schemeClr val="bg1"/>
                </a:solidFill>
              </a:rPr>
              <a:t> Program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60D5D6-4416-357A-1D33-1A4A81275530}"/>
              </a:ext>
            </a:extLst>
          </p:cNvPr>
          <p:cNvSpPr txBox="1"/>
          <p:nvPr/>
        </p:nvSpPr>
        <p:spPr>
          <a:xfrm>
            <a:off x="539615" y="4221532"/>
            <a:ext cx="6097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	: GENPACT</a:t>
            </a:r>
          </a:p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	: 05</a:t>
            </a:r>
            <a:r>
              <a:rPr lang="en-US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uly2022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012068-F4E7-7035-0607-EC9825A20A5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DB093572-F617-EE4B-ED3B-52849A0BD519}"/>
              </a:ext>
            </a:extLst>
          </p:cNvPr>
          <p:cNvSpPr txBox="1">
            <a:spLocks/>
          </p:cNvSpPr>
          <p:nvPr/>
        </p:nvSpPr>
        <p:spPr>
          <a:xfrm>
            <a:off x="228965" y="286920"/>
            <a:ext cx="11260138" cy="7127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DE- Learning Pedagogy</a:t>
            </a:r>
            <a:endParaRPr lang="en-IN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51CE3FB6-D320-AFEE-E94B-B969B3366E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3179787"/>
              </p:ext>
            </p:extLst>
          </p:nvPr>
        </p:nvGraphicFramePr>
        <p:xfrm>
          <a:off x="629920" y="873760"/>
          <a:ext cx="11003280" cy="55676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262511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535531"/>
          </a:xfrm>
        </p:spPr>
        <p:txBody>
          <a:bodyPr/>
          <a:lstStyle/>
          <a:p>
            <a:r>
              <a:rPr lang="en-US" sz="32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369</TotalTime>
  <Words>197</Words>
  <Application>Microsoft Office PowerPoint</Application>
  <PresentationFormat>Widescreen</PresentationFormat>
  <Paragraphs>22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Naga Brahmam Y [UNext]</cp:lastModifiedBy>
  <cp:revision>417</cp:revision>
  <dcterms:created xsi:type="dcterms:W3CDTF">2022-01-18T12:35:56Z</dcterms:created>
  <dcterms:modified xsi:type="dcterms:W3CDTF">2022-07-05T17:0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</Properties>
</file>